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4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25.xml" ContentType="application/vnd.openxmlformats-officedocument.presentationml.tag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trictFirstAndLastChars="0" saveSubsetFonts="1">
  <p:sldMasterIdLst>
    <p:sldMasterId id="2147483655" r:id="rId1"/>
  </p:sldMasterIdLst>
  <p:notesMasterIdLst>
    <p:notesMasterId r:id="rId7"/>
  </p:notesMasterIdLst>
  <p:handoutMasterIdLst>
    <p:handoutMasterId r:id="rId8"/>
  </p:handoutMasterIdLst>
  <p:sldIdLst>
    <p:sldId id="1035" r:id="rId2"/>
    <p:sldId id="1042" r:id="rId3"/>
    <p:sldId id="1049" r:id="rId4"/>
    <p:sldId id="1041" r:id="rId5"/>
    <p:sldId id="1048" r:id="rId6"/>
  </p:sldIdLst>
  <p:sldSz cx="10058400" cy="7543800"/>
  <p:notesSz cx="9777413" cy="6670675"/>
  <p:custDataLst>
    <p:tags r:id="rId9"/>
  </p:custDataLst>
  <p:defaultTextStyle>
    <a:defPPr>
      <a:defRPr lang="en-GB"/>
    </a:defPPr>
    <a:lvl1pPr algn="l" rtl="0" fontAlgn="base">
      <a:spcBef>
        <a:spcPct val="0"/>
      </a:spcBef>
      <a:spcAft>
        <a:spcPct val="0"/>
      </a:spcAft>
      <a:defRPr sz="1300" b="1" kern="1200">
        <a:solidFill>
          <a:srgbClr val="164463"/>
        </a:solidFill>
        <a:latin typeface="Arial" charset="0"/>
        <a:ea typeface="Batang"/>
        <a:cs typeface="Batang"/>
      </a:defRPr>
    </a:lvl1pPr>
    <a:lvl2pPr marL="449263" indent="7938" algn="l" rtl="0" fontAlgn="base">
      <a:spcBef>
        <a:spcPct val="0"/>
      </a:spcBef>
      <a:spcAft>
        <a:spcPct val="0"/>
      </a:spcAft>
      <a:defRPr sz="1300" b="1" kern="1200">
        <a:solidFill>
          <a:srgbClr val="164463"/>
        </a:solidFill>
        <a:latin typeface="Arial" charset="0"/>
        <a:ea typeface="Batang"/>
        <a:cs typeface="Batang"/>
      </a:defRPr>
    </a:lvl2pPr>
    <a:lvl3pPr marL="903288" indent="11113" algn="l" rtl="0" fontAlgn="base">
      <a:spcBef>
        <a:spcPct val="0"/>
      </a:spcBef>
      <a:spcAft>
        <a:spcPct val="0"/>
      </a:spcAft>
      <a:defRPr sz="1300" b="1" kern="1200">
        <a:solidFill>
          <a:srgbClr val="164463"/>
        </a:solidFill>
        <a:latin typeface="Arial" charset="0"/>
        <a:ea typeface="Batang"/>
        <a:cs typeface="Batang"/>
      </a:defRPr>
    </a:lvl3pPr>
    <a:lvl4pPr marL="1357313" indent="14288" algn="l" rtl="0" fontAlgn="base">
      <a:spcBef>
        <a:spcPct val="0"/>
      </a:spcBef>
      <a:spcAft>
        <a:spcPct val="0"/>
      </a:spcAft>
      <a:defRPr sz="1300" b="1" kern="1200">
        <a:solidFill>
          <a:srgbClr val="164463"/>
        </a:solidFill>
        <a:latin typeface="Arial" charset="0"/>
        <a:ea typeface="Batang"/>
        <a:cs typeface="Batang"/>
      </a:defRPr>
    </a:lvl4pPr>
    <a:lvl5pPr marL="1809750" indent="19050" algn="l" rtl="0" fontAlgn="base">
      <a:spcBef>
        <a:spcPct val="0"/>
      </a:spcBef>
      <a:spcAft>
        <a:spcPct val="0"/>
      </a:spcAft>
      <a:defRPr sz="1300" b="1" kern="1200">
        <a:solidFill>
          <a:srgbClr val="164463"/>
        </a:solidFill>
        <a:latin typeface="Arial" charset="0"/>
        <a:ea typeface="Batang"/>
        <a:cs typeface="Batang"/>
      </a:defRPr>
    </a:lvl5pPr>
    <a:lvl6pPr marL="2286000" algn="l" defTabSz="914400" rtl="0" eaLnBrk="1" latinLnBrk="0" hangingPunct="1">
      <a:defRPr sz="1300" b="1" kern="1200">
        <a:solidFill>
          <a:srgbClr val="164463"/>
        </a:solidFill>
        <a:latin typeface="Arial" charset="0"/>
        <a:ea typeface="Batang"/>
        <a:cs typeface="Batang"/>
      </a:defRPr>
    </a:lvl6pPr>
    <a:lvl7pPr marL="2743200" algn="l" defTabSz="914400" rtl="0" eaLnBrk="1" latinLnBrk="0" hangingPunct="1">
      <a:defRPr sz="1300" b="1" kern="1200">
        <a:solidFill>
          <a:srgbClr val="164463"/>
        </a:solidFill>
        <a:latin typeface="Arial" charset="0"/>
        <a:ea typeface="Batang"/>
        <a:cs typeface="Batang"/>
      </a:defRPr>
    </a:lvl7pPr>
    <a:lvl8pPr marL="3200400" algn="l" defTabSz="914400" rtl="0" eaLnBrk="1" latinLnBrk="0" hangingPunct="1">
      <a:defRPr sz="1300" b="1" kern="1200">
        <a:solidFill>
          <a:srgbClr val="164463"/>
        </a:solidFill>
        <a:latin typeface="Arial" charset="0"/>
        <a:ea typeface="Batang"/>
        <a:cs typeface="Batang"/>
      </a:defRPr>
    </a:lvl8pPr>
    <a:lvl9pPr marL="3657600" algn="l" defTabSz="914400" rtl="0" eaLnBrk="1" latinLnBrk="0" hangingPunct="1">
      <a:defRPr sz="1300" b="1" kern="1200">
        <a:solidFill>
          <a:srgbClr val="164463"/>
        </a:solidFill>
        <a:latin typeface="Arial" charset="0"/>
        <a:ea typeface="Batang"/>
        <a:cs typeface="Batang"/>
      </a:defRPr>
    </a:lvl9pPr>
  </p:defaultTextStyle>
  <p:extLst>
    <p:ext uri="{EFAFB233-063F-42B5-8137-9DF3F51BA10A}">
      <p15:sldGuideLst xmlns:p15="http://schemas.microsoft.com/office/powerpoint/2012/main">
        <p15:guide id="1" orient="horz" pos="4236">
          <p15:clr>
            <a:srgbClr val="A4A3A4"/>
          </p15:clr>
        </p15:guide>
        <p15:guide id="2" pos="6116">
          <p15:clr>
            <a:srgbClr val="A4A3A4"/>
          </p15:clr>
        </p15:guide>
        <p15:guide id="3" pos="2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01" userDrawn="1">
          <p15:clr>
            <a:srgbClr val="A4A3A4"/>
          </p15:clr>
        </p15:guide>
        <p15:guide id="2" pos="308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loop="1"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88590"/>
    <a:srgbClr val="236CB0"/>
    <a:srgbClr val="4981BF"/>
    <a:srgbClr val="BDD7EE"/>
    <a:srgbClr val="B4DE86"/>
    <a:srgbClr val="C5C000"/>
    <a:srgbClr val="FFFF99"/>
    <a:srgbClr val="008000"/>
    <a:srgbClr val="E2721E"/>
    <a:srgbClr val="FF373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Темный стиль 2 — акцент 5/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FECB4D8-DB02-4DC6-A0A2-4F2EBAE1DC90}" styleName="Средний стиль 1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91EBBBCC-DAD2-459C-BE2E-F6DE35CF9A28}" styleName="Темный стиль 2 — акцент 3/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024" autoAdjust="0"/>
    <p:restoredTop sz="99393" autoAdjust="0"/>
  </p:normalViewPr>
  <p:slideViewPr>
    <p:cSldViewPr snapToGrid="0">
      <p:cViewPr varScale="1">
        <p:scale>
          <a:sx n="105" d="100"/>
          <a:sy n="105" d="100"/>
        </p:scale>
        <p:origin x="1758" y="108"/>
      </p:cViewPr>
      <p:guideLst>
        <p:guide orient="horz" pos="4236"/>
        <p:guide pos="6116"/>
        <p:guide pos="220"/>
      </p:guideLst>
    </p:cSldViewPr>
  </p:slideViewPr>
  <p:outlineViewPr>
    <p:cViewPr>
      <p:scale>
        <a:sx n="33" d="100"/>
        <a:sy n="33" d="100"/>
      </p:scale>
      <p:origin x="0" y="1284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82" d="100"/>
          <a:sy n="82" d="100"/>
        </p:scale>
        <p:origin x="-3942" y="-96"/>
      </p:cViewPr>
      <p:guideLst>
        <p:guide orient="horz" pos="2101"/>
        <p:guide pos="308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6AE4904-092F-4D65-B16F-82B2FD90D48A}" type="doc">
      <dgm:prSet loTypeId="urn:microsoft.com/office/officeart/2005/8/layout/vList5" loCatId="list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31224F43-9144-4C3C-8714-F09EEB309634}">
      <dgm:prSet phldrT="[Текст]" custT="1"/>
      <dgm:spPr/>
      <dgm:t>
        <a:bodyPr/>
        <a:lstStyle/>
        <a:p>
          <a:r>
            <a:rPr lang="ru-RU" sz="1100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Объем единовременной загрузки сухогрузных судов</a:t>
          </a:r>
          <a:endParaRPr lang="ru-RU" sz="1100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56B37187-975D-42D4-B3A1-5703A691454C}" type="parTrans" cxnId="{72ED4D56-CAA2-4A7C-927E-2F51BB79DEA0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5B884252-9960-4564-A2D6-504DEB42812D}" type="sibTrans" cxnId="{72ED4D56-CAA2-4A7C-927E-2F51BB79DEA0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0B299B7D-78A1-4CEB-853A-5B72053DBBDC}">
      <dgm:prSet phldrT="[Текст]" custT="1"/>
      <dgm:spPr>
        <a:solidFill>
          <a:schemeClr val="accent2">
            <a:lumMod val="90000"/>
          </a:schemeClr>
        </a:solidFill>
      </dgm:spPr>
      <dgm:t>
        <a:bodyPr/>
        <a:lstStyle/>
        <a:p>
          <a:r>
            <a:rPr lang="ru-RU" sz="1500" b="1" dirty="0" smtClean="0"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78 тыс. тн </a:t>
          </a:r>
          <a:endParaRPr lang="ru-RU" sz="1500" b="1" dirty="0">
            <a:solidFill>
              <a:schemeClr val="tx1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3668A76E-98B8-47A0-BB45-8EF5058E1C15}" type="parTrans" cxnId="{5C128A88-1331-4CA6-81CC-ED66AE58F55F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9AF869E0-2F6E-46A1-B09C-FBD8D7571784}" type="sibTrans" cxnId="{5C128A88-1331-4CA6-81CC-ED66AE58F55F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E762CEE0-E98D-4BD4-8AE1-A0F0424B7504}">
      <dgm:prSet phldrT="[Текст]" custT="1"/>
      <dgm:spPr/>
      <dgm:t>
        <a:bodyPr/>
        <a:lstStyle/>
        <a:p>
          <a:r>
            <a:rPr lang="ru-RU" sz="11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Объем единовременной загрузки нефтеналивных судов </a:t>
          </a:r>
          <a:endParaRPr lang="ru-RU" sz="1100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ADABD72F-B607-4ACD-B1BD-77499CF665C9}" type="parTrans" cxnId="{518C0C43-8975-411C-9F32-3856BAB94093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BB33A377-9F8F-48D3-84A5-CACA28F0D287}" type="sibTrans" cxnId="{518C0C43-8975-411C-9F32-3856BAB94093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6E4010DA-8017-4661-AA61-807FC8D804C6}">
      <dgm:prSet phldrT="[Текст]" custT="1"/>
      <dgm:spPr>
        <a:solidFill>
          <a:schemeClr val="accent2">
            <a:lumMod val="90000"/>
          </a:schemeClr>
        </a:solidFill>
      </dgm:spPr>
      <dgm:t>
        <a:bodyPr/>
        <a:lstStyle/>
        <a:p>
          <a:r>
            <a:rPr lang="ru-RU" sz="1500" b="1" dirty="0" smtClean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rPr>
            <a:t>3 ремонтных базы флота</a:t>
          </a:r>
          <a:endParaRPr lang="ru-RU" sz="1500" b="1" dirty="0">
            <a:solidFill>
              <a:schemeClr val="tx1"/>
            </a:solidFill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85AEBBBB-627C-4D00-BD9C-67ACC3035277}" type="parTrans" cxnId="{11D628BF-8411-4AD5-A4C4-EB3794AE2206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E2E9C1C9-047D-4D0D-8B17-6E84F043B519}" type="sibTrans" cxnId="{11D628BF-8411-4AD5-A4C4-EB3794AE2206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10DAB713-8B10-4B80-95BD-CEA7AEF927F7}">
      <dgm:prSet phldrT="[Текст]" custT="1"/>
      <dgm:spPr/>
      <dgm:t>
        <a:bodyPr/>
        <a:lstStyle/>
        <a:p>
          <a:r>
            <a:rPr lang="ru-RU" sz="11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Красноярск,  </a:t>
          </a:r>
          <a:endParaRPr lang="ru-RU" sz="1100" b="1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059F4DC9-8390-4693-BDD9-5847279B67AA}" type="parTrans" cxnId="{5FB48E8B-C6D2-48EF-9BDB-ABE0765E18C0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B816D6D6-A176-4D12-991D-A6601EB8C34A}" type="sibTrans" cxnId="{5FB48E8B-C6D2-48EF-9BDB-ABE0765E18C0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4B973809-553E-4674-870F-E76481CC54C6}">
      <dgm:prSet phldrT="[Текст]" custT="1"/>
      <dgm:spPr>
        <a:solidFill>
          <a:schemeClr val="accent2">
            <a:lumMod val="90000"/>
          </a:schemeClr>
        </a:solidFill>
      </dgm:spPr>
      <dgm:t>
        <a:bodyPr/>
        <a:lstStyle/>
        <a:p>
          <a:r>
            <a:rPr lang="ru-RU" sz="1500" b="1" dirty="0" smtClean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86 населенных пунктов</a:t>
          </a:r>
          <a:endParaRPr lang="ru-RU" sz="1500" b="1" dirty="0">
            <a:solidFill>
              <a:schemeClr val="tx1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EEB929F1-61FD-45B0-8448-8ECA0FF278FF}" type="parTrans" cxnId="{7990BA37-9D25-465F-8E8C-A38AFF16AAB1}">
      <dgm:prSet/>
      <dgm:spPr/>
      <dgm:t>
        <a:bodyPr/>
        <a:lstStyle/>
        <a:p>
          <a:endParaRPr lang="ru-RU"/>
        </a:p>
      </dgm:t>
    </dgm:pt>
    <dgm:pt modelId="{6B0CDFED-CA20-486F-9819-8CF4EAA60579}" type="sibTrans" cxnId="{7990BA37-9D25-465F-8E8C-A38AFF16AAB1}">
      <dgm:prSet/>
      <dgm:spPr/>
      <dgm:t>
        <a:bodyPr/>
        <a:lstStyle/>
        <a:p>
          <a:endParaRPr lang="ru-RU"/>
        </a:p>
      </dgm:t>
    </dgm:pt>
    <dgm:pt modelId="{FA9EDA1F-1E4C-49E2-8AC0-3DECEDD012C3}">
      <dgm:prSet phldrT="[Текст]" custT="1"/>
      <dgm:spPr/>
      <dgm:t>
        <a:bodyPr/>
        <a:lstStyle/>
        <a:p>
          <a:r>
            <a:rPr lang="ru-RU" sz="11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Доставки грузов на р. Енисей и его притоках (р. Ангара, Н. Тунгуска, П. Тунгуска, Б. Хета), Енисейский залив</a:t>
          </a:r>
          <a:endParaRPr lang="ru-RU" sz="1100" b="1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8AA5FD29-86E0-495A-A37D-91C268180CD7}" type="parTrans" cxnId="{B72AA73D-AA5A-4F89-8ABA-504C411DD66C}">
      <dgm:prSet/>
      <dgm:spPr/>
      <dgm:t>
        <a:bodyPr/>
        <a:lstStyle/>
        <a:p>
          <a:endParaRPr lang="ru-RU"/>
        </a:p>
      </dgm:t>
    </dgm:pt>
    <dgm:pt modelId="{0FF29250-9F33-4D6E-A0A3-96BBB6A44448}" type="sibTrans" cxnId="{B72AA73D-AA5A-4F89-8ABA-504C411DD66C}">
      <dgm:prSet/>
      <dgm:spPr/>
      <dgm:t>
        <a:bodyPr/>
        <a:lstStyle/>
        <a:p>
          <a:endParaRPr lang="ru-RU"/>
        </a:p>
      </dgm:t>
    </dgm:pt>
    <dgm:pt modelId="{7F0F5EC4-FEDC-4AB8-9FB7-29A572F542D3}">
      <dgm:prSet phldrT="[Текст]" custT="1"/>
      <dgm:spPr>
        <a:solidFill>
          <a:schemeClr val="accent2">
            <a:lumMod val="90000"/>
          </a:schemeClr>
        </a:solidFill>
      </dgm:spPr>
      <dgm:t>
        <a:bodyPr/>
        <a:lstStyle/>
        <a:p>
          <a:r>
            <a:rPr lang="ru-RU" sz="1500" b="1" dirty="0" smtClean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rPr>
            <a:t>413 тыс. тн</a:t>
          </a:r>
          <a:endParaRPr lang="ru-RU" sz="1500" b="1" dirty="0">
            <a:solidFill>
              <a:schemeClr val="tx1"/>
            </a:solidFill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37F6706B-9FBC-4D3C-9845-CB0D3DBDAC59}" type="sibTrans" cxnId="{9698D946-1B82-429D-BC32-47B6988E16BE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81E180A7-5957-4077-9C17-9412D3010D65}" type="parTrans" cxnId="{9698D946-1B82-429D-BC32-47B6988E16BE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E8E8B154-5134-4F4A-8854-44CC25EF126D}">
      <dgm:prSet phldrT="[Текст]" custT="1"/>
      <dgm:spPr>
        <a:solidFill>
          <a:schemeClr val="accent2">
            <a:lumMod val="90000"/>
          </a:schemeClr>
        </a:solidFill>
      </dgm:spPr>
      <dgm:t>
        <a:bodyPr/>
        <a:lstStyle/>
        <a:p>
          <a:pPr>
            <a:buClrTx/>
            <a:buSzTx/>
            <a:buFontTx/>
            <a:buNone/>
          </a:pPr>
          <a:r>
            <a:rPr lang="ru-RU" sz="1500" b="1" i="0" dirty="0" smtClean="0"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3,8 млн. тн </a:t>
          </a:r>
          <a:endParaRPr lang="ru-RU" sz="1500" b="1" dirty="0">
            <a:solidFill>
              <a:schemeClr val="tx1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62DE970C-348F-4C6E-8995-9CD7B7434B8B}" type="sibTrans" cxnId="{6EE05FB3-0B68-4952-9252-A970B77BC5F6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9CC249EF-7FA4-4AF6-88AC-D38041626DE0}" type="parTrans" cxnId="{6EE05FB3-0B68-4952-9252-A970B77BC5F6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29C7A33B-DD01-469A-A423-BF6065BDA36E}">
      <dgm:prSet phldrT="[Текст]" custT="1"/>
      <dgm:spPr/>
      <dgm:t>
        <a:bodyPr/>
        <a:lstStyle/>
        <a:p>
          <a:r>
            <a:rPr lang="ru-RU" sz="11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Максимальный объем перевозки грузов </a:t>
          </a:r>
          <a:endParaRPr lang="ru-RU" sz="1100" b="1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32BD146D-9949-4843-B022-AA89236B5FBE}" type="sibTrans" cxnId="{CDCFB62B-4747-45C1-A39E-66D9BA0A4859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69CBFFE4-7087-49D6-8A23-6BB2263C5BC8}" type="parTrans" cxnId="{CDCFB62B-4747-45C1-A39E-66D9BA0A4859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A08986E1-42DE-40CA-A807-0009DCC90EF7}">
      <dgm:prSet phldrT="[Текст]" custT="1"/>
      <dgm:spPr>
        <a:solidFill>
          <a:schemeClr val="accent2">
            <a:lumMod val="90000"/>
          </a:schemeClr>
        </a:solidFill>
      </dgm:spPr>
      <dgm:t>
        <a:bodyPr/>
        <a:lstStyle/>
        <a:p>
          <a:r>
            <a:rPr lang="ru-RU" sz="1500" b="1" dirty="0" smtClean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rPr>
            <a:t>400 единиц</a:t>
          </a:r>
          <a:endParaRPr lang="ru-RU" sz="1500" b="1" dirty="0">
            <a:solidFill>
              <a:schemeClr val="tx1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80347AE7-74FE-43DE-8652-3F2A880EAFA8}" type="sibTrans" cxnId="{4CF5262D-7C1A-4A6D-B918-C1309B85C935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E0E3D072-D400-4FA8-A73C-CC34DE47F59F}" type="parTrans" cxnId="{4CF5262D-7C1A-4A6D-B918-C1309B85C935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D00504CE-D5C8-434D-9DF5-A8DCD1CEEEE4}">
      <dgm:prSet phldrT="[Текст]" custT="1"/>
      <dgm:spPr/>
      <dgm:t>
        <a:bodyPr/>
        <a:lstStyle/>
        <a:p>
          <a:r>
            <a:rPr lang="ru-RU" sz="11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Флота: самоходный, нефтеналивной,  плавкраны, вспомогательный </a:t>
          </a:r>
          <a:endParaRPr lang="ru-RU" sz="1100" b="1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CF200460-3BD8-48B2-A29A-7350D33E1794}" type="sibTrans" cxnId="{11B9B8BF-B73A-4AE2-8C6E-46AE8D216ECB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1AE28733-93E9-45AC-B2BE-E2B8C088B9E4}" type="parTrans" cxnId="{11B9B8BF-B73A-4AE2-8C6E-46AE8D216ECB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62BA3504-02AF-4516-BE3F-4FDBAC5E9C66}">
      <dgm:prSet phldrT="[Текст]" custT="1"/>
      <dgm:spPr/>
      <dgm:t>
        <a:bodyPr/>
        <a:lstStyle/>
        <a:p>
          <a:r>
            <a:rPr lang="ru-RU" sz="11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Ермолаево,</a:t>
          </a:r>
          <a:endParaRPr lang="ru-RU" sz="1100" b="1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9A8A53FB-12A8-4591-9CAE-7BA9EFD0E0FD}" type="parTrans" cxnId="{7CC80C2C-670A-48E7-8E84-ABFF7DADC3F6}">
      <dgm:prSet/>
      <dgm:spPr/>
      <dgm:t>
        <a:bodyPr/>
        <a:lstStyle/>
        <a:p>
          <a:endParaRPr lang="ru-RU"/>
        </a:p>
      </dgm:t>
    </dgm:pt>
    <dgm:pt modelId="{45F5D163-36F2-4C41-84D4-AFA113263497}" type="sibTrans" cxnId="{7CC80C2C-670A-48E7-8E84-ABFF7DADC3F6}">
      <dgm:prSet/>
      <dgm:spPr/>
      <dgm:t>
        <a:bodyPr/>
        <a:lstStyle/>
        <a:p>
          <a:endParaRPr lang="ru-RU"/>
        </a:p>
      </dgm:t>
    </dgm:pt>
    <dgm:pt modelId="{2DC8BE38-92A3-482C-BA93-CA37B10D835C}">
      <dgm:prSet phldrT="[Текст]" custT="1"/>
      <dgm:spPr/>
      <dgm:t>
        <a:bodyPr/>
        <a:lstStyle/>
        <a:p>
          <a:r>
            <a:rPr lang="ru-RU" sz="11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Подтесово</a:t>
          </a:r>
          <a:endParaRPr lang="ru-RU" sz="1100" b="1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571873D5-0B15-44FB-ACA7-178AD2D9BCFA}" type="parTrans" cxnId="{4B132583-5BF0-4B28-8801-654FF53B5404}">
      <dgm:prSet/>
      <dgm:spPr/>
      <dgm:t>
        <a:bodyPr/>
        <a:lstStyle/>
        <a:p>
          <a:endParaRPr lang="ru-RU"/>
        </a:p>
      </dgm:t>
    </dgm:pt>
    <dgm:pt modelId="{01C490D1-0F45-49BB-9893-4D7DF3ADF4CE}" type="sibTrans" cxnId="{4B132583-5BF0-4B28-8801-654FF53B5404}">
      <dgm:prSet/>
      <dgm:spPr/>
      <dgm:t>
        <a:bodyPr/>
        <a:lstStyle/>
        <a:p>
          <a:endParaRPr lang="ru-RU"/>
        </a:p>
      </dgm:t>
    </dgm:pt>
    <dgm:pt modelId="{54156209-8591-49DD-9F64-2B19F2BF1522}">
      <dgm:prSet phldrT="[Текст]" custT="1"/>
      <dgm:spPr/>
      <dgm:t>
        <a:bodyPr/>
        <a:lstStyle/>
        <a:p>
          <a:r>
            <a:rPr lang="ru-RU" sz="11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 Затоны оснащённые для зимнего отстоя флота</a:t>
          </a:r>
          <a:endParaRPr lang="ru-RU" sz="1100" b="1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585D123A-A983-4DE9-868A-B272059BCAE4}" type="parTrans" cxnId="{5BA110AF-4849-462F-AE9D-F12DACC72587}">
      <dgm:prSet/>
      <dgm:spPr/>
      <dgm:t>
        <a:bodyPr/>
        <a:lstStyle/>
        <a:p>
          <a:endParaRPr lang="ru-RU"/>
        </a:p>
      </dgm:t>
    </dgm:pt>
    <dgm:pt modelId="{2FEBDF0A-0E02-4585-B7FC-268E401AB39B}" type="sibTrans" cxnId="{5BA110AF-4849-462F-AE9D-F12DACC72587}">
      <dgm:prSet/>
      <dgm:spPr/>
      <dgm:t>
        <a:bodyPr/>
        <a:lstStyle/>
        <a:p>
          <a:endParaRPr lang="ru-RU"/>
        </a:p>
      </dgm:t>
    </dgm:pt>
    <dgm:pt modelId="{B6BACC0C-C655-45C9-8613-E6170C889BA7}" type="pres">
      <dgm:prSet presAssocID="{46AE4904-092F-4D65-B16F-82B2FD90D48A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ED2953E-DB33-4B14-AB81-D0031830E1A4}" type="pres">
      <dgm:prSet presAssocID="{E8E8B154-5134-4F4A-8854-44CC25EF126D}" presName="linNode" presStyleCnt="0"/>
      <dgm:spPr/>
    </dgm:pt>
    <dgm:pt modelId="{F48902FA-BC27-46C8-9CDA-8C0772C14EDC}" type="pres">
      <dgm:prSet presAssocID="{E8E8B154-5134-4F4A-8854-44CC25EF126D}" presName="parentText" presStyleLbl="node1" presStyleIdx="0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665B03E-034D-4EAF-9511-0A588EBE0483}" type="pres">
      <dgm:prSet presAssocID="{E8E8B154-5134-4F4A-8854-44CC25EF126D}" presName="descendantText" presStyleLbl="alignAccFollowNode1" presStyleIdx="0" presStyleCnt="6" custScaleY="12151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801E54A-2967-4164-9147-7883B9A4F37B}" type="pres">
      <dgm:prSet presAssocID="{62DE970C-348F-4C6E-8995-9CD7B7434B8B}" presName="sp" presStyleCnt="0"/>
      <dgm:spPr/>
    </dgm:pt>
    <dgm:pt modelId="{86FB5E32-9CFD-4C62-80DF-AD9E2A46A8CA}" type="pres">
      <dgm:prSet presAssocID="{7F0F5EC4-FEDC-4AB8-9FB7-29A572F542D3}" presName="linNode" presStyleCnt="0"/>
      <dgm:spPr/>
    </dgm:pt>
    <dgm:pt modelId="{FBDB07B0-FBBD-496E-A9E5-927188278EBB}" type="pres">
      <dgm:prSet presAssocID="{7F0F5EC4-FEDC-4AB8-9FB7-29A572F542D3}" presName="parentText" presStyleLbl="node1" presStyleIdx="1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21DBBFD-6721-41A4-8CC8-3912B59079FD}" type="pres">
      <dgm:prSet presAssocID="{7F0F5EC4-FEDC-4AB8-9FB7-29A572F542D3}" presName="descendantText" presStyleLbl="alignAccFollowNode1" presStyleIdx="1" presStyleCnt="6" custScaleY="12151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A235E7B-3EC9-4D32-A94A-3657516E88CA}" type="pres">
      <dgm:prSet presAssocID="{37F6706B-9FBC-4D3C-9845-CB0D3DBDAC59}" presName="sp" presStyleCnt="0"/>
      <dgm:spPr/>
    </dgm:pt>
    <dgm:pt modelId="{899FB402-105C-48E0-BA08-1F434783A1F6}" type="pres">
      <dgm:prSet presAssocID="{0B299B7D-78A1-4CEB-853A-5B72053DBBDC}" presName="linNode" presStyleCnt="0"/>
      <dgm:spPr/>
    </dgm:pt>
    <dgm:pt modelId="{1D36FD78-47EA-4B40-AE86-1843ADBD75B9}" type="pres">
      <dgm:prSet presAssocID="{0B299B7D-78A1-4CEB-853A-5B72053DBBDC}" presName="parentText" presStyleLbl="node1" presStyleIdx="2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6BEB48E-E675-49CB-8E1C-14B6A89B71C1}" type="pres">
      <dgm:prSet presAssocID="{0B299B7D-78A1-4CEB-853A-5B72053DBBDC}" presName="descendantText" presStyleLbl="alignAccFollowNode1" presStyleIdx="2" presStyleCnt="6" custScaleY="12151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CC75076-6B28-4D79-82CF-064A072E55AB}" type="pres">
      <dgm:prSet presAssocID="{9AF869E0-2F6E-46A1-B09C-FBD8D7571784}" presName="sp" presStyleCnt="0"/>
      <dgm:spPr/>
    </dgm:pt>
    <dgm:pt modelId="{C8F04175-1E37-40E5-B6EF-C3B90B663621}" type="pres">
      <dgm:prSet presAssocID="{A08986E1-42DE-40CA-A807-0009DCC90EF7}" presName="linNode" presStyleCnt="0"/>
      <dgm:spPr/>
    </dgm:pt>
    <dgm:pt modelId="{AC19E11A-B6D2-4DC8-929D-F55418C7C246}" type="pres">
      <dgm:prSet presAssocID="{A08986E1-42DE-40CA-A807-0009DCC90EF7}" presName="parentText" presStyleLbl="node1" presStyleIdx="3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281C372-CEB7-434E-8C4C-3657416CCCF4}" type="pres">
      <dgm:prSet presAssocID="{A08986E1-42DE-40CA-A807-0009DCC90EF7}" presName="descendantText" presStyleLbl="alignAccFollowNode1" presStyleIdx="3" presStyleCnt="6" custScaleY="12151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F43E8D1-50B4-4C74-A3BD-885D2C015F0E}" type="pres">
      <dgm:prSet presAssocID="{80347AE7-74FE-43DE-8652-3F2A880EAFA8}" presName="sp" presStyleCnt="0"/>
      <dgm:spPr/>
    </dgm:pt>
    <dgm:pt modelId="{69832E25-1747-4A6C-9CA6-2354CD336DC1}" type="pres">
      <dgm:prSet presAssocID="{4B973809-553E-4674-870F-E76481CC54C6}" presName="linNode" presStyleCnt="0"/>
      <dgm:spPr/>
    </dgm:pt>
    <dgm:pt modelId="{2EC09480-EEAD-4C4D-9A46-74797FF28326}" type="pres">
      <dgm:prSet presAssocID="{4B973809-553E-4674-870F-E76481CC54C6}" presName="parentText" presStyleLbl="node1" presStyleIdx="4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10FA0B2-85E4-4F87-9733-432A7987095B}" type="pres">
      <dgm:prSet presAssocID="{4B973809-553E-4674-870F-E76481CC54C6}" presName="descendantText" presStyleLbl="alignAccFollowNode1" presStyleIdx="4" presStyleCnt="6" custScaleY="12151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B3C3411-E7CF-4F5E-A6B2-7781B3814C0D}" type="pres">
      <dgm:prSet presAssocID="{6B0CDFED-CA20-486F-9819-8CF4EAA60579}" presName="sp" presStyleCnt="0"/>
      <dgm:spPr/>
    </dgm:pt>
    <dgm:pt modelId="{51534471-2BC7-42BD-B754-FECA7D08EC1E}" type="pres">
      <dgm:prSet presAssocID="{6E4010DA-8017-4661-AA61-807FC8D804C6}" presName="linNode" presStyleCnt="0"/>
      <dgm:spPr/>
    </dgm:pt>
    <dgm:pt modelId="{748519A5-5BFB-419C-9FB2-E4A86AF0DF05}" type="pres">
      <dgm:prSet presAssocID="{6E4010DA-8017-4661-AA61-807FC8D804C6}" presName="parentText" presStyleLbl="node1" presStyleIdx="5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40E47FD-1462-48F9-A898-55E6067C5323}" type="pres">
      <dgm:prSet presAssocID="{6E4010DA-8017-4661-AA61-807FC8D804C6}" presName="descendantText" presStyleLbl="alignAccFollowNode1" presStyleIdx="5" presStyleCnt="6" custScaleY="121516" custLinFactNeighborY="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7990BA37-9D25-465F-8E8C-A38AFF16AAB1}" srcId="{46AE4904-092F-4D65-B16F-82B2FD90D48A}" destId="{4B973809-553E-4674-870F-E76481CC54C6}" srcOrd="4" destOrd="0" parTransId="{EEB929F1-61FD-45B0-8448-8ECA0FF278FF}" sibTransId="{6B0CDFED-CA20-486F-9819-8CF4EAA60579}"/>
    <dgm:cxn modelId="{80B3F09F-FED9-4C89-937C-C8C946F0EBF7}" type="presOf" srcId="{10DAB713-8B10-4B80-95BD-CEA7AEF927F7}" destId="{540E47FD-1462-48F9-A898-55E6067C5323}" srcOrd="0" destOrd="0" presId="urn:microsoft.com/office/officeart/2005/8/layout/vList5"/>
    <dgm:cxn modelId="{11B9B8BF-B73A-4AE2-8C6E-46AE8D216ECB}" srcId="{A08986E1-42DE-40CA-A807-0009DCC90EF7}" destId="{D00504CE-D5C8-434D-9DF5-A8DCD1CEEEE4}" srcOrd="0" destOrd="0" parTransId="{1AE28733-93E9-45AC-B2BE-E2B8C088B9E4}" sibTransId="{CF200460-3BD8-48B2-A29A-7350D33E1794}"/>
    <dgm:cxn modelId="{9698D946-1B82-429D-BC32-47B6988E16BE}" srcId="{46AE4904-092F-4D65-B16F-82B2FD90D48A}" destId="{7F0F5EC4-FEDC-4AB8-9FB7-29A572F542D3}" srcOrd="1" destOrd="0" parTransId="{81E180A7-5957-4077-9C17-9412D3010D65}" sibTransId="{37F6706B-9FBC-4D3C-9845-CB0D3DBDAC59}"/>
    <dgm:cxn modelId="{39389D79-3EB8-4B07-B15A-2F22CA305C9B}" type="presOf" srcId="{E8E8B154-5134-4F4A-8854-44CC25EF126D}" destId="{F48902FA-BC27-46C8-9CDA-8C0772C14EDC}" srcOrd="0" destOrd="0" presId="urn:microsoft.com/office/officeart/2005/8/layout/vList5"/>
    <dgm:cxn modelId="{4B132583-5BF0-4B28-8801-654FF53B5404}" srcId="{6E4010DA-8017-4661-AA61-807FC8D804C6}" destId="{2DC8BE38-92A3-482C-BA93-CA37B10D835C}" srcOrd="2" destOrd="0" parTransId="{571873D5-0B15-44FB-ACA7-178AD2D9BCFA}" sibTransId="{01C490D1-0F45-49BB-9893-4D7DF3ADF4CE}"/>
    <dgm:cxn modelId="{518C0C43-8975-411C-9F32-3856BAB94093}" srcId="{0B299B7D-78A1-4CEB-853A-5B72053DBBDC}" destId="{E762CEE0-E98D-4BD4-8AE1-A0F0424B7504}" srcOrd="0" destOrd="0" parTransId="{ADABD72F-B607-4ACD-B1BD-77499CF665C9}" sibTransId="{BB33A377-9F8F-48D3-84A5-CACA28F0D287}"/>
    <dgm:cxn modelId="{97E552D8-D98F-4883-85CA-2424B0D5F120}" type="presOf" srcId="{D00504CE-D5C8-434D-9DF5-A8DCD1CEEEE4}" destId="{4281C372-CEB7-434E-8C4C-3657416CCCF4}" srcOrd="0" destOrd="0" presId="urn:microsoft.com/office/officeart/2005/8/layout/vList5"/>
    <dgm:cxn modelId="{6EE05FB3-0B68-4952-9252-A970B77BC5F6}" srcId="{46AE4904-092F-4D65-B16F-82B2FD90D48A}" destId="{E8E8B154-5134-4F4A-8854-44CC25EF126D}" srcOrd="0" destOrd="0" parTransId="{9CC249EF-7FA4-4AF6-88AC-D38041626DE0}" sibTransId="{62DE970C-348F-4C6E-8995-9CD7B7434B8B}"/>
    <dgm:cxn modelId="{05CD9F58-D50C-426B-AE46-164C03854F84}" type="presOf" srcId="{0B299B7D-78A1-4CEB-853A-5B72053DBBDC}" destId="{1D36FD78-47EA-4B40-AE86-1843ADBD75B9}" srcOrd="0" destOrd="0" presId="urn:microsoft.com/office/officeart/2005/8/layout/vList5"/>
    <dgm:cxn modelId="{7CC80C2C-670A-48E7-8E84-ABFF7DADC3F6}" srcId="{6E4010DA-8017-4661-AA61-807FC8D804C6}" destId="{62BA3504-02AF-4516-BE3F-4FDBAC5E9C66}" srcOrd="1" destOrd="0" parTransId="{9A8A53FB-12A8-4591-9CAE-7BA9EFD0E0FD}" sibTransId="{45F5D163-36F2-4C41-84D4-AFA113263497}"/>
    <dgm:cxn modelId="{72ED4D56-CAA2-4A7C-927E-2F51BB79DEA0}" srcId="{7F0F5EC4-FEDC-4AB8-9FB7-29A572F542D3}" destId="{31224F43-9144-4C3C-8714-F09EEB309634}" srcOrd="0" destOrd="0" parTransId="{56B37187-975D-42D4-B3A1-5703A691454C}" sibTransId="{5B884252-9960-4564-A2D6-504DEB42812D}"/>
    <dgm:cxn modelId="{B72AA73D-AA5A-4F89-8ABA-504C411DD66C}" srcId="{4B973809-553E-4674-870F-E76481CC54C6}" destId="{FA9EDA1F-1E4C-49E2-8AC0-3DECEDD012C3}" srcOrd="0" destOrd="0" parTransId="{8AA5FD29-86E0-495A-A37D-91C268180CD7}" sibTransId="{0FF29250-9F33-4D6E-A0A3-96BBB6A44448}"/>
    <dgm:cxn modelId="{19F96A80-2413-4DAF-8D13-F5AAB8BD1154}" type="presOf" srcId="{4B973809-553E-4674-870F-E76481CC54C6}" destId="{2EC09480-EEAD-4C4D-9A46-74797FF28326}" srcOrd="0" destOrd="0" presId="urn:microsoft.com/office/officeart/2005/8/layout/vList5"/>
    <dgm:cxn modelId="{B81929EF-7424-479C-B6ED-79DFDD3A8A7C}" type="presOf" srcId="{6E4010DA-8017-4661-AA61-807FC8D804C6}" destId="{748519A5-5BFB-419C-9FB2-E4A86AF0DF05}" srcOrd="0" destOrd="0" presId="urn:microsoft.com/office/officeart/2005/8/layout/vList5"/>
    <dgm:cxn modelId="{F7A9CDD7-A837-40E2-B999-5DFE8B98777A}" type="presOf" srcId="{A08986E1-42DE-40CA-A807-0009DCC90EF7}" destId="{AC19E11A-B6D2-4DC8-929D-F55418C7C246}" srcOrd="0" destOrd="0" presId="urn:microsoft.com/office/officeart/2005/8/layout/vList5"/>
    <dgm:cxn modelId="{5FB48E8B-C6D2-48EF-9BDB-ABE0765E18C0}" srcId="{6E4010DA-8017-4661-AA61-807FC8D804C6}" destId="{10DAB713-8B10-4B80-95BD-CEA7AEF927F7}" srcOrd="0" destOrd="0" parTransId="{059F4DC9-8390-4693-BDD9-5847279B67AA}" sibTransId="{B816D6D6-A176-4D12-991D-A6601EB8C34A}"/>
    <dgm:cxn modelId="{5BA110AF-4849-462F-AE9D-F12DACC72587}" srcId="{6E4010DA-8017-4661-AA61-807FC8D804C6}" destId="{54156209-8591-49DD-9F64-2B19F2BF1522}" srcOrd="3" destOrd="0" parTransId="{585D123A-A983-4DE9-868A-B272059BCAE4}" sibTransId="{2FEBDF0A-0E02-4585-B7FC-268E401AB39B}"/>
    <dgm:cxn modelId="{FC0DFB7A-0C34-41A6-BC14-A82C0A97BE7C}" type="presOf" srcId="{62BA3504-02AF-4516-BE3F-4FDBAC5E9C66}" destId="{540E47FD-1462-48F9-A898-55E6067C5323}" srcOrd="0" destOrd="1" presId="urn:microsoft.com/office/officeart/2005/8/layout/vList5"/>
    <dgm:cxn modelId="{4ECFFC52-A588-4260-A41B-17D15A1D855F}" type="presOf" srcId="{54156209-8591-49DD-9F64-2B19F2BF1522}" destId="{540E47FD-1462-48F9-A898-55E6067C5323}" srcOrd="0" destOrd="3" presId="urn:microsoft.com/office/officeart/2005/8/layout/vList5"/>
    <dgm:cxn modelId="{110C2B7C-27D3-4025-9380-4327F93DEB63}" type="presOf" srcId="{7F0F5EC4-FEDC-4AB8-9FB7-29A572F542D3}" destId="{FBDB07B0-FBBD-496E-A9E5-927188278EBB}" srcOrd="0" destOrd="0" presId="urn:microsoft.com/office/officeart/2005/8/layout/vList5"/>
    <dgm:cxn modelId="{53BC89C2-FCE2-47EA-A79B-3E96BF8B8B3F}" type="presOf" srcId="{29C7A33B-DD01-469A-A423-BF6065BDA36E}" destId="{6665B03E-034D-4EAF-9511-0A588EBE0483}" srcOrd="0" destOrd="0" presId="urn:microsoft.com/office/officeart/2005/8/layout/vList5"/>
    <dgm:cxn modelId="{4CF5262D-7C1A-4A6D-B918-C1309B85C935}" srcId="{46AE4904-092F-4D65-B16F-82B2FD90D48A}" destId="{A08986E1-42DE-40CA-A807-0009DCC90EF7}" srcOrd="3" destOrd="0" parTransId="{E0E3D072-D400-4FA8-A73C-CC34DE47F59F}" sibTransId="{80347AE7-74FE-43DE-8652-3F2A880EAFA8}"/>
    <dgm:cxn modelId="{5C1D4A3E-C286-46D8-B8A2-9B496EADEE68}" type="presOf" srcId="{2DC8BE38-92A3-482C-BA93-CA37B10D835C}" destId="{540E47FD-1462-48F9-A898-55E6067C5323}" srcOrd="0" destOrd="2" presId="urn:microsoft.com/office/officeart/2005/8/layout/vList5"/>
    <dgm:cxn modelId="{7C0C0CA5-7E1B-49AB-BDB0-37588C36C9CC}" type="presOf" srcId="{46AE4904-092F-4D65-B16F-82B2FD90D48A}" destId="{B6BACC0C-C655-45C9-8613-E6170C889BA7}" srcOrd="0" destOrd="0" presId="urn:microsoft.com/office/officeart/2005/8/layout/vList5"/>
    <dgm:cxn modelId="{5C128A88-1331-4CA6-81CC-ED66AE58F55F}" srcId="{46AE4904-092F-4D65-B16F-82B2FD90D48A}" destId="{0B299B7D-78A1-4CEB-853A-5B72053DBBDC}" srcOrd="2" destOrd="0" parTransId="{3668A76E-98B8-47A0-BB45-8EF5058E1C15}" sibTransId="{9AF869E0-2F6E-46A1-B09C-FBD8D7571784}"/>
    <dgm:cxn modelId="{CDCFB62B-4747-45C1-A39E-66D9BA0A4859}" srcId="{E8E8B154-5134-4F4A-8854-44CC25EF126D}" destId="{29C7A33B-DD01-469A-A423-BF6065BDA36E}" srcOrd="0" destOrd="0" parTransId="{69CBFFE4-7087-49D6-8A23-6BB2263C5BC8}" sibTransId="{32BD146D-9949-4843-B022-AA89236B5FBE}"/>
    <dgm:cxn modelId="{7DC5B606-FD74-4F62-BA96-28FD6D038470}" type="presOf" srcId="{FA9EDA1F-1E4C-49E2-8AC0-3DECEDD012C3}" destId="{C10FA0B2-85E4-4F87-9733-432A7987095B}" srcOrd="0" destOrd="0" presId="urn:microsoft.com/office/officeart/2005/8/layout/vList5"/>
    <dgm:cxn modelId="{11D628BF-8411-4AD5-A4C4-EB3794AE2206}" srcId="{46AE4904-092F-4D65-B16F-82B2FD90D48A}" destId="{6E4010DA-8017-4661-AA61-807FC8D804C6}" srcOrd="5" destOrd="0" parTransId="{85AEBBBB-627C-4D00-BD9C-67ACC3035277}" sibTransId="{E2E9C1C9-047D-4D0D-8B17-6E84F043B519}"/>
    <dgm:cxn modelId="{ECA400BB-64EF-4935-A70F-AA88DFE9D408}" type="presOf" srcId="{E762CEE0-E98D-4BD4-8AE1-A0F0424B7504}" destId="{06BEB48E-E675-49CB-8E1C-14B6A89B71C1}" srcOrd="0" destOrd="0" presId="urn:microsoft.com/office/officeart/2005/8/layout/vList5"/>
    <dgm:cxn modelId="{79E5EE39-F2E2-454B-B218-2F4EAF543137}" type="presOf" srcId="{31224F43-9144-4C3C-8714-F09EEB309634}" destId="{121DBBFD-6721-41A4-8CC8-3912B59079FD}" srcOrd="0" destOrd="0" presId="urn:microsoft.com/office/officeart/2005/8/layout/vList5"/>
    <dgm:cxn modelId="{DB4F9D83-A46C-4197-8EB6-2A177FC4E1B3}" type="presParOf" srcId="{B6BACC0C-C655-45C9-8613-E6170C889BA7}" destId="{0ED2953E-DB33-4B14-AB81-D0031830E1A4}" srcOrd="0" destOrd="0" presId="urn:microsoft.com/office/officeart/2005/8/layout/vList5"/>
    <dgm:cxn modelId="{10A0FE54-0901-4699-8FA0-EE0B13658560}" type="presParOf" srcId="{0ED2953E-DB33-4B14-AB81-D0031830E1A4}" destId="{F48902FA-BC27-46C8-9CDA-8C0772C14EDC}" srcOrd="0" destOrd="0" presId="urn:microsoft.com/office/officeart/2005/8/layout/vList5"/>
    <dgm:cxn modelId="{64EB614E-9B40-427B-9CEE-C0AB8851696C}" type="presParOf" srcId="{0ED2953E-DB33-4B14-AB81-D0031830E1A4}" destId="{6665B03E-034D-4EAF-9511-0A588EBE0483}" srcOrd="1" destOrd="0" presId="urn:microsoft.com/office/officeart/2005/8/layout/vList5"/>
    <dgm:cxn modelId="{EA3B590A-E8DE-460A-A0CA-30760861059E}" type="presParOf" srcId="{B6BACC0C-C655-45C9-8613-E6170C889BA7}" destId="{D801E54A-2967-4164-9147-7883B9A4F37B}" srcOrd="1" destOrd="0" presId="urn:microsoft.com/office/officeart/2005/8/layout/vList5"/>
    <dgm:cxn modelId="{5CE9DD53-3F63-488E-B337-438EEFBAD737}" type="presParOf" srcId="{B6BACC0C-C655-45C9-8613-E6170C889BA7}" destId="{86FB5E32-9CFD-4C62-80DF-AD9E2A46A8CA}" srcOrd="2" destOrd="0" presId="urn:microsoft.com/office/officeart/2005/8/layout/vList5"/>
    <dgm:cxn modelId="{D481F4EA-6487-4B1E-9564-E676CE05C297}" type="presParOf" srcId="{86FB5E32-9CFD-4C62-80DF-AD9E2A46A8CA}" destId="{FBDB07B0-FBBD-496E-A9E5-927188278EBB}" srcOrd="0" destOrd="0" presId="urn:microsoft.com/office/officeart/2005/8/layout/vList5"/>
    <dgm:cxn modelId="{BE2092AC-13F4-4B1D-AD61-3972952C45DC}" type="presParOf" srcId="{86FB5E32-9CFD-4C62-80DF-AD9E2A46A8CA}" destId="{121DBBFD-6721-41A4-8CC8-3912B59079FD}" srcOrd="1" destOrd="0" presId="urn:microsoft.com/office/officeart/2005/8/layout/vList5"/>
    <dgm:cxn modelId="{F66D994B-0ECB-4911-AEE4-DE98969763A7}" type="presParOf" srcId="{B6BACC0C-C655-45C9-8613-E6170C889BA7}" destId="{5A235E7B-3EC9-4D32-A94A-3657516E88CA}" srcOrd="3" destOrd="0" presId="urn:microsoft.com/office/officeart/2005/8/layout/vList5"/>
    <dgm:cxn modelId="{203E24BE-1274-4175-84C4-50E6004E210C}" type="presParOf" srcId="{B6BACC0C-C655-45C9-8613-E6170C889BA7}" destId="{899FB402-105C-48E0-BA08-1F434783A1F6}" srcOrd="4" destOrd="0" presId="urn:microsoft.com/office/officeart/2005/8/layout/vList5"/>
    <dgm:cxn modelId="{4F4954BB-3F0E-41DA-B646-B4A471F178B5}" type="presParOf" srcId="{899FB402-105C-48E0-BA08-1F434783A1F6}" destId="{1D36FD78-47EA-4B40-AE86-1843ADBD75B9}" srcOrd="0" destOrd="0" presId="urn:microsoft.com/office/officeart/2005/8/layout/vList5"/>
    <dgm:cxn modelId="{979FA206-E72E-46B8-A31A-08BF51332F46}" type="presParOf" srcId="{899FB402-105C-48E0-BA08-1F434783A1F6}" destId="{06BEB48E-E675-49CB-8E1C-14B6A89B71C1}" srcOrd="1" destOrd="0" presId="urn:microsoft.com/office/officeart/2005/8/layout/vList5"/>
    <dgm:cxn modelId="{052371A4-B6B4-4114-87B1-BE0377CC8EE3}" type="presParOf" srcId="{B6BACC0C-C655-45C9-8613-E6170C889BA7}" destId="{7CC75076-6B28-4D79-82CF-064A072E55AB}" srcOrd="5" destOrd="0" presId="urn:microsoft.com/office/officeart/2005/8/layout/vList5"/>
    <dgm:cxn modelId="{37C1B9CD-C276-4687-B498-69C615C0DC87}" type="presParOf" srcId="{B6BACC0C-C655-45C9-8613-E6170C889BA7}" destId="{C8F04175-1E37-40E5-B6EF-C3B90B663621}" srcOrd="6" destOrd="0" presId="urn:microsoft.com/office/officeart/2005/8/layout/vList5"/>
    <dgm:cxn modelId="{4E184011-011F-49E3-A34B-6CDB12FFBC23}" type="presParOf" srcId="{C8F04175-1E37-40E5-B6EF-C3B90B663621}" destId="{AC19E11A-B6D2-4DC8-929D-F55418C7C246}" srcOrd="0" destOrd="0" presId="urn:microsoft.com/office/officeart/2005/8/layout/vList5"/>
    <dgm:cxn modelId="{F9F105B3-A266-497D-8A63-3A4C00C72929}" type="presParOf" srcId="{C8F04175-1E37-40E5-B6EF-C3B90B663621}" destId="{4281C372-CEB7-434E-8C4C-3657416CCCF4}" srcOrd="1" destOrd="0" presId="urn:microsoft.com/office/officeart/2005/8/layout/vList5"/>
    <dgm:cxn modelId="{51B6E56A-F480-462D-AFC4-955145B66C5C}" type="presParOf" srcId="{B6BACC0C-C655-45C9-8613-E6170C889BA7}" destId="{4F43E8D1-50B4-4C74-A3BD-885D2C015F0E}" srcOrd="7" destOrd="0" presId="urn:microsoft.com/office/officeart/2005/8/layout/vList5"/>
    <dgm:cxn modelId="{458CFCE0-718E-4C0D-9E65-2E6A1223E13E}" type="presParOf" srcId="{B6BACC0C-C655-45C9-8613-E6170C889BA7}" destId="{69832E25-1747-4A6C-9CA6-2354CD336DC1}" srcOrd="8" destOrd="0" presId="urn:microsoft.com/office/officeart/2005/8/layout/vList5"/>
    <dgm:cxn modelId="{D453AB6B-ECF1-43C0-BCA6-CF5AADCBA816}" type="presParOf" srcId="{69832E25-1747-4A6C-9CA6-2354CD336DC1}" destId="{2EC09480-EEAD-4C4D-9A46-74797FF28326}" srcOrd="0" destOrd="0" presId="urn:microsoft.com/office/officeart/2005/8/layout/vList5"/>
    <dgm:cxn modelId="{ED7A0769-EAC0-4067-84F5-3B72265DDFA8}" type="presParOf" srcId="{69832E25-1747-4A6C-9CA6-2354CD336DC1}" destId="{C10FA0B2-85E4-4F87-9733-432A7987095B}" srcOrd="1" destOrd="0" presId="urn:microsoft.com/office/officeart/2005/8/layout/vList5"/>
    <dgm:cxn modelId="{3D5E09AC-8E3E-48B5-A42C-59DAC3E3E9F8}" type="presParOf" srcId="{B6BACC0C-C655-45C9-8613-E6170C889BA7}" destId="{8B3C3411-E7CF-4F5E-A6B2-7781B3814C0D}" srcOrd="9" destOrd="0" presId="urn:microsoft.com/office/officeart/2005/8/layout/vList5"/>
    <dgm:cxn modelId="{B343A823-B103-44BF-9372-E40A223CCB68}" type="presParOf" srcId="{B6BACC0C-C655-45C9-8613-E6170C889BA7}" destId="{51534471-2BC7-42BD-B754-FECA7D08EC1E}" srcOrd="10" destOrd="0" presId="urn:microsoft.com/office/officeart/2005/8/layout/vList5"/>
    <dgm:cxn modelId="{A94F25EA-CD8C-4B4E-8DD5-9131E4E31770}" type="presParOf" srcId="{51534471-2BC7-42BD-B754-FECA7D08EC1E}" destId="{748519A5-5BFB-419C-9FB2-E4A86AF0DF05}" srcOrd="0" destOrd="0" presId="urn:microsoft.com/office/officeart/2005/8/layout/vList5"/>
    <dgm:cxn modelId="{FB6A3C25-5464-4D2A-ACED-7F9065D20E5F}" type="presParOf" srcId="{51534471-2BC7-42BD-B754-FECA7D08EC1E}" destId="{540E47FD-1462-48F9-A898-55E6067C5323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6AE4904-092F-4D65-B16F-82B2FD90D48A}" type="doc">
      <dgm:prSet loTypeId="urn:microsoft.com/office/officeart/2005/8/layout/vList5" loCatId="list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29C7A33B-DD01-469A-A423-BF6065BDA36E}">
      <dgm:prSet phldrT="[Текст]" custT="1"/>
      <dgm:spPr/>
      <dgm:t>
        <a:bodyPr/>
        <a:lstStyle/>
        <a:p>
          <a:r>
            <a:rPr lang="ru-RU" sz="11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Пропускная способность</a:t>
          </a:r>
        </a:p>
      </dgm:t>
    </dgm:pt>
    <dgm:pt modelId="{69CBFFE4-7087-49D6-8A23-6BB2263C5BC8}" type="parTrans" cxnId="{CDCFB62B-4747-45C1-A39E-66D9BA0A4859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32BD146D-9949-4843-B022-AA89236B5FBE}" type="sibTrans" cxnId="{CDCFB62B-4747-45C1-A39E-66D9BA0A4859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31224F43-9144-4C3C-8714-F09EEB309634}">
      <dgm:prSet phldrT="[Текст]" custT="1"/>
      <dgm:spPr/>
      <dgm:t>
        <a:bodyPr/>
        <a:lstStyle/>
        <a:p>
          <a:r>
            <a:rPr lang="ru-RU" sz="1100" b="1" dirty="0">
              <a:latin typeface="Tahoma" pitchFamily="34" charset="0"/>
              <a:ea typeface="Tahoma" pitchFamily="34" charset="0"/>
              <a:cs typeface="Tahoma" pitchFamily="34" charset="0"/>
            </a:rPr>
            <a:t>Максимальный объем единовременного хранения </a:t>
          </a:r>
        </a:p>
      </dgm:t>
    </dgm:pt>
    <dgm:pt modelId="{56B37187-975D-42D4-B3A1-5703A691454C}" type="parTrans" cxnId="{72ED4D56-CAA2-4A7C-927E-2F51BB79DEA0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5B884252-9960-4564-A2D6-504DEB42812D}" type="sibTrans" cxnId="{72ED4D56-CAA2-4A7C-927E-2F51BB79DEA0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0B299B7D-78A1-4CEB-853A-5B72053DBBDC}">
      <dgm:prSet phldrT="[Текст]" custT="1"/>
      <dgm:spPr>
        <a:solidFill>
          <a:schemeClr val="accent2">
            <a:lumMod val="90000"/>
          </a:schemeClr>
        </a:solidFill>
      </dgm:spPr>
      <dgm:t>
        <a:bodyPr/>
        <a:lstStyle/>
        <a:p>
          <a:r>
            <a:rPr lang="ru-RU" sz="1500" b="1" dirty="0"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39 </a:t>
          </a:r>
          <a:r>
            <a:rPr lang="ru-RU" sz="1500" b="1" dirty="0" smtClean="0"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единиц </a:t>
          </a:r>
          <a:endParaRPr lang="ru-RU" sz="1500" b="1" dirty="0">
            <a:solidFill>
              <a:schemeClr val="tx1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3668A76E-98B8-47A0-BB45-8EF5058E1C15}" type="parTrans" cxnId="{5C128A88-1331-4CA6-81CC-ED66AE58F55F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9AF869E0-2F6E-46A1-B09C-FBD8D7571784}" type="sibTrans" cxnId="{5C128A88-1331-4CA6-81CC-ED66AE58F55F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E762CEE0-E98D-4BD4-8AE1-A0F0424B7504}">
      <dgm:prSet phldrT="[Текст]" custT="1"/>
      <dgm:spPr/>
      <dgm:t>
        <a:bodyPr/>
        <a:lstStyle/>
        <a:p>
          <a:r>
            <a:rPr lang="ru-RU" sz="1100" b="1" dirty="0">
              <a:latin typeface="Tahoma" pitchFamily="34" charset="0"/>
              <a:ea typeface="Tahoma" pitchFamily="34" charset="0"/>
              <a:cs typeface="Tahoma" pitchFamily="34" charset="0"/>
            </a:rPr>
            <a:t>Портальных кранов </a:t>
          </a:r>
          <a:r>
            <a:rPr lang="ru-RU" sz="1100" b="1" dirty="0">
              <a:effectLst/>
              <a:latin typeface="Tahoma" pitchFamily="34" charset="0"/>
              <a:ea typeface="Tahoma" pitchFamily="34" charset="0"/>
              <a:cs typeface="Tahoma" pitchFamily="34" charset="0"/>
            </a:rPr>
            <a:t>грузоподъемностью от 5 до 40 тн и причальный мостовой кран грузоподъемностью 200 тн</a:t>
          </a:r>
          <a:r>
            <a:rPr lang="en-US" sz="1100" b="1" dirty="0"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 </a:t>
          </a:r>
          <a:endParaRPr lang="ru-RU" sz="1100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ADABD72F-B607-4ACD-B1BD-77499CF665C9}" type="parTrans" cxnId="{518C0C43-8975-411C-9F32-3856BAB94093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BB33A377-9F8F-48D3-84A5-CACA28F0D287}" type="sibTrans" cxnId="{518C0C43-8975-411C-9F32-3856BAB94093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D00504CE-D5C8-434D-9DF5-A8DCD1CEEEE4}">
      <dgm:prSet phldrT="[Текст]" custT="1"/>
      <dgm:spPr/>
      <dgm:t>
        <a:bodyPr/>
        <a:lstStyle/>
        <a:p>
          <a:r>
            <a:rPr lang="ru-RU" sz="1100" b="1" dirty="0"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Автопогрузчиков грузоподъемностью от 1,5 до 45 тн</a:t>
          </a:r>
          <a:endParaRPr lang="ru-RU" sz="1100" b="1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1AE28733-93E9-45AC-B2BE-E2B8C088B9E4}" type="parTrans" cxnId="{11B9B8BF-B73A-4AE2-8C6E-46AE8D216ECB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CF200460-3BD8-48B2-A29A-7350D33E1794}" type="sibTrans" cxnId="{11B9B8BF-B73A-4AE2-8C6E-46AE8D216ECB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A08986E1-42DE-40CA-A807-0009DCC90EF7}">
      <dgm:prSet phldrT="[Текст]" custT="1"/>
      <dgm:spPr>
        <a:solidFill>
          <a:schemeClr val="accent2">
            <a:lumMod val="90000"/>
          </a:schemeClr>
        </a:solidFill>
      </dgm:spPr>
      <dgm:t>
        <a:bodyPr/>
        <a:lstStyle/>
        <a:p>
          <a:r>
            <a:rPr lang="ru-RU" sz="1500" b="1" dirty="0" smtClean="0"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34 единицы</a:t>
          </a:r>
          <a:endParaRPr lang="ru-RU" sz="1500" b="1" dirty="0">
            <a:solidFill>
              <a:schemeClr val="tx1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E0E3D072-D400-4FA8-A73C-CC34DE47F59F}" type="parTrans" cxnId="{4CF5262D-7C1A-4A6D-B918-C1309B85C935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80347AE7-74FE-43DE-8652-3F2A880EAFA8}" type="sibTrans" cxnId="{4CF5262D-7C1A-4A6D-B918-C1309B85C935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6E4010DA-8017-4661-AA61-807FC8D804C6}">
      <dgm:prSet phldrT="[Текст]" custT="1"/>
      <dgm:spPr>
        <a:solidFill>
          <a:schemeClr val="accent2">
            <a:lumMod val="90000"/>
          </a:schemeClr>
        </a:solidFill>
      </dgm:spPr>
      <dgm:t>
        <a:bodyPr/>
        <a:lstStyle/>
        <a:p>
          <a:r>
            <a:rPr lang="ru-RU" sz="1500" b="1" dirty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rPr>
            <a:t>Связь с железной дорогой </a:t>
          </a:r>
        </a:p>
      </dgm:t>
    </dgm:pt>
    <dgm:pt modelId="{85AEBBBB-627C-4D00-BD9C-67ACC3035277}" type="parTrans" cxnId="{11D628BF-8411-4AD5-A4C4-EB3794AE2206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E2E9C1C9-047D-4D0D-8B17-6E84F043B519}" type="sibTrans" cxnId="{11D628BF-8411-4AD5-A4C4-EB3794AE2206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10DAB713-8B10-4B80-95BD-CEA7AEF927F7}">
      <dgm:prSet phldrT="[Текст]" custT="1"/>
      <dgm:spPr/>
      <dgm:t>
        <a:bodyPr/>
        <a:lstStyle/>
        <a:p>
          <a:r>
            <a:rPr lang="ru-RU" sz="1100" b="1" dirty="0"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Выход на станции Злобино, Енисей и Красноярск-Северный Транссибирской железнодорожной магистрали</a:t>
          </a:r>
          <a:endParaRPr lang="ru-RU" sz="1100" b="1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059F4DC9-8390-4693-BDD9-5847279B67AA}" type="parTrans" cxnId="{5FB48E8B-C6D2-48EF-9BDB-ABE0765E18C0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B816D6D6-A176-4D12-991D-A6601EB8C34A}" type="sibTrans" cxnId="{5FB48E8B-C6D2-48EF-9BDB-ABE0765E18C0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4B973809-553E-4674-870F-E76481CC54C6}">
      <dgm:prSet phldrT="[Текст]" custT="1"/>
      <dgm:spPr>
        <a:solidFill>
          <a:schemeClr val="accent2">
            <a:lumMod val="90000"/>
          </a:schemeClr>
        </a:solidFill>
      </dgm:spPr>
      <dgm:t>
        <a:bodyPr/>
        <a:lstStyle/>
        <a:p>
          <a:r>
            <a:rPr lang="ru-RU" sz="1500" b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17 причалов</a:t>
          </a:r>
        </a:p>
      </dgm:t>
    </dgm:pt>
    <dgm:pt modelId="{EEB929F1-61FD-45B0-8448-8ECA0FF278FF}" type="parTrans" cxnId="{7990BA37-9D25-465F-8E8C-A38AFF16AAB1}">
      <dgm:prSet/>
      <dgm:spPr/>
      <dgm:t>
        <a:bodyPr/>
        <a:lstStyle/>
        <a:p>
          <a:endParaRPr lang="ru-RU"/>
        </a:p>
      </dgm:t>
    </dgm:pt>
    <dgm:pt modelId="{6B0CDFED-CA20-486F-9819-8CF4EAA60579}" type="sibTrans" cxnId="{7990BA37-9D25-465F-8E8C-A38AFF16AAB1}">
      <dgm:prSet/>
      <dgm:spPr/>
      <dgm:t>
        <a:bodyPr/>
        <a:lstStyle/>
        <a:p>
          <a:endParaRPr lang="ru-RU"/>
        </a:p>
      </dgm:t>
    </dgm:pt>
    <dgm:pt modelId="{FA9EDA1F-1E4C-49E2-8AC0-3DECEDD012C3}">
      <dgm:prSet phldrT="[Текст]" custT="1"/>
      <dgm:spPr/>
      <dgm:t>
        <a:bodyPr/>
        <a:lstStyle/>
        <a:p>
          <a:r>
            <a:rPr lang="ru-RU" sz="11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Общей протяженностью 1 </a:t>
          </a:r>
          <a:r>
            <a:rPr lang="ru-RU" sz="11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910 </a:t>
          </a:r>
          <a:r>
            <a:rPr lang="ru-RU" sz="11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м</a:t>
          </a:r>
        </a:p>
      </dgm:t>
    </dgm:pt>
    <dgm:pt modelId="{8AA5FD29-86E0-495A-A37D-91C268180CD7}" type="parTrans" cxnId="{B72AA73D-AA5A-4F89-8ABA-504C411DD66C}">
      <dgm:prSet/>
      <dgm:spPr/>
      <dgm:t>
        <a:bodyPr/>
        <a:lstStyle/>
        <a:p>
          <a:endParaRPr lang="ru-RU"/>
        </a:p>
      </dgm:t>
    </dgm:pt>
    <dgm:pt modelId="{0FF29250-9F33-4D6E-A0A3-96BBB6A44448}" type="sibTrans" cxnId="{B72AA73D-AA5A-4F89-8ABA-504C411DD66C}">
      <dgm:prSet/>
      <dgm:spPr/>
      <dgm:t>
        <a:bodyPr/>
        <a:lstStyle/>
        <a:p>
          <a:endParaRPr lang="ru-RU"/>
        </a:p>
      </dgm:t>
    </dgm:pt>
    <dgm:pt modelId="{7F0F5EC4-FEDC-4AB8-9FB7-29A572F542D3}">
      <dgm:prSet phldrT="[Текст]" custT="1"/>
      <dgm:spPr>
        <a:solidFill>
          <a:schemeClr val="accent2">
            <a:lumMod val="90000"/>
          </a:schemeClr>
        </a:solidFill>
      </dgm:spPr>
      <dgm:t>
        <a:bodyPr/>
        <a:lstStyle/>
        <a:p>
          <a:r>
            <a:rPr lang="ru-RU" sz="1500" b="1" dirty="0" smtClean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rPr>
            <a:t>600 тыс</a:t>
          </a:r>
          <a:r>
            <a:rPr lang="ru-RU" sz="1500" b="1" dirty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rPr>
            <a:t>. тн</a:t>
          </a:r>
        </a:p>
      </dgm:t>
    </dgm:pt>
    <dgm:pt modelId="{37F6706B-9FBC-4D3C-9845-CB0D3DBDAC59}" type="sibTrans" cxnId="{9698D946-1B82-429D-BC32-47B6988E16BE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81E180A7-5957-4077-9C17-9412D3010D65}" type="parTrans" cxnId="{9698D946-1B82-429D-BC32-47B6988E16BE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E8E8B154-5134-4F4A-8854-44CC25EF126D}">
      <dgm:prSet phldrT="[Текст]" custT="1"/>
      <dgm:spPr>
        <a:solidFill>
          <a:schemeClr val="accent2">
            <a:lumMod val="90000"/>
          </a:schemeClr>
        </a:solidFill>
      </dgm:spPr>
      <dgm:t>
        <a:bodyPr/>
        <a:lstStyle/>
        <a:p>
          <a:pPr>
            <a:buClrTx/>
            <a:buSzTx/>
            <a:buFontTx/>
            <a:buNone/>
          </a:pPr>
          <a:r>
            <a:rPr lang="ru-RU" sz="1500" b="1" i="0" dirty="0" smtClean="0"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2,0 </a:t>
          </a:r>
          <a:r>
            <a:rPr lang="ru-RU" sz="1500" b="1" i="0" dirty="0" smtClean="0"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млн</a:t>
          </a:r>
          <a:r>
            <a:rPr lang="ru-RU" sz="1500" b="1" i="0" dirty="0"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. тн в год</a:t>
          </a:r>
          <a:endParaRPr lang="ru-RU" sz="1500" b="1" dirty="0">
            <a:solidFill>
              <a:schemeClr val="tx1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62DE970C-348F-4C6E-8995-9CD7B7434B8B}" type="sibTrans" cxnId="{6EE05FB3-0B68-4952-9252-A970B77BC5F6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9CC249EF-7FA4-4AF6-88AC-D38041626DE0}" type="parTrans" cxnId="{6EE05FB3-0B68-4952-9252-A970B77BC5F6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B6BACC0C-C655-45C9-8613-E6170C889BA7}" type="pres">
      <dgm:prSet presAssocID="{46AE4904-092F-4D65-B16F-82B2FD90D48A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ED2953E-DB33-4B14-AB81-D0031830E1A4}" type="pres">
      <dgm:prSet presAssocID="{E8E8B154-5134-4F4A-8854-44CC25EF126D}" presName="linNode" presStyleCnt="0"/>
      <dgm:spPr/>
    </dgm:pt>
    <dgm:pt modelId="{F48902FA-BC27-46C8-9CDA-8C0772C14EDC}" type="pres">
      <dgm:prSet presAssocID="{E8E8B154-5134-4F4A-8854-44CC25EF126D}" presName="parentText" presStyleLbl="node1" presStyleIdx="0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665B03E-034D-4EAF-9511-0A588EBE0483}" type="pres">
      <dgm:prSet presAssocID="{E8E8B154-5134-4F4A-8854-44CC25EF126D}" presName="descendantText" presStyleLbl="alignAccFollowNode1" presStyleIdx="0" presStyleCnt="6" custScaleY="12151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801E54A-2967-4164-9147-7883B9A4F37B}" type="pres">
      <dgm:prSet presAssocID="{62DE970C-348F-4C6E-8995-9CD7B7434B8B}" presName="sp" presStyleCnt="0"/>
      <dgm:spPr/>
    </dgm:pt>
    <dgm:pt modelId="{86FB5E32-9CFD-4C62-80DF-AD9E2A46A8CA}" type="pres">
      <dgm:prSet presAssocID="{7F0F5EC4-FEDC-4AB8-9FB7-29A572F542D3}" presName="linNode" presStyleCnt="0"/>
      <dgm:spPr/>
    </dgm:pt>
    <dgm:pt modelId="{FBDB07B0-FBBD-496E-A9E5-927188278EBB}" type="pres">
      <dgm:prSet presAssocID="{7F0F5EC4-FEDC-4AB8-9FB7-29A572F542D3}" presName="parentText" presStyleLbl="node1" presStyleIdx="1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21DBBFD-6721-41A4-8CC8-3912B59079FD}" type="pres">
      <dgm:prSet presAssocID="{7F0F5EC4-FEDC-4AB8-9FB7-29A572F542D3}" presName="descendantText" presStyleLbl="alignAccFollowNode1" presStyleIdx="1" presStyleCnt="6" custScaleY="12151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A235E7B-3EC9-4D32-A94A-3657516E88CA}" type="pres">
      <dgm:prSet presAssocID="{37F6706B-9FBC-4D3C-9845-CB0D3DBDAC59}" presName="sp" presStyleCnt="0"/>
      <dgm:spPr/>
    </dgm:pt>
    <dgm:pt modelId="{899FB402-105C-48E0-BA08-1F434783A1F6}" type="pres">
      <dgm:prSet presAssocID="{0B299B7D-78A1-4CEB-853A-5B72053DBBDC}" presName="linNode" presStyleCnt="0"/>
      <dgm:spPr/>
    </dgm:pt>
    <dgm:pt modelId="{1D36FD78-47EA-4B40-AE86-1843ADBD75B9}" type="pres">
      <dgm:prSet presAssocID="{0B299B7D-78A1-4CEB-853A-5B72053DBBDC}" presName="parentText" presStyleLbl="node1" presStyleIdx="2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6BEB48E-E675-49CB-8E1C-14B6A89B71C1}" type="pres">
      <dgm:prSet presAssocID="{0B299B7D-78A1-4CEB-853A-5B72053DBBDC}" presName="descendantText" presStyleLbl="alignAccFollowNode1" presStyleIdx="2" presStyleCnt="6" custScaleY="12151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CC75076-6B28-4D79-82CF-064A072E55AB}" type="pres">
      <dgm:prSet presAssocID="{9AF869E0-2F6E-46A1-B09C-FBD8D7571784}" presName="sp" presStyleCnt="0"/>
      <dgm:spPr/>
    </dgm:pt>
    <dgm:pt modelId="{C8F04175-1E37-40E5-B6EF-C3B90B663621}" type="pres">
      <dgm:prSet presAssocID="{A08986E1-42DE-40CA-A807-0009DCC90EF7}" presName="linNode" presStyleCnt="0"/>
      <dgm:spPr/>
    </dgm:pt>
    <dgm:pt modelId="{AC19E11A-B6D2-4DC8-929D-F55418C7C246}" type="pres">
      <dgm:prSet presAssocID="{A08986E1-42DE-40CA-A807-0009DCC90EF7}" presName="parentText" presStyleLbl="node1" presStyleIdx="3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281C372-CEB7-434E-8C4C-3657416CCCF4}" type="pres">
      <dgm:prSet presAssocID="{A08986E1-42DE-40CA-A807-0009DCC90EF7}" presName="descendantText" presStyleLbl="alignAccFollowNode1" presStyleIdx="3" presStyleCnt="6" custScaleY="12151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F43E8D1-50B4-4C74-A3BD-885D2C015F0E}" type="pres">
      <dgm:prSet presAssocID="{80347AE7-74FE-43DE-8652-3F2A880EAFA8}" presName="sp" presStyleCnt="0"/>
      <dgm:spPr/>
    </dgm:pt>
    <dgm:pt modelId="{69832E25-1747-4A6C-9CA6-2354CD336DC1}" type="pres">
      <dgm:prSet presAssocID="{4B973809-553E-4674-870F-E76481CC54C6}" presName="linNode" presStyleCnt="0"/>
      <dgm:spPr/>
    </dgm:pt>
    <dgm:pt modelId="{2EC09480-EEAD-4C4D-9A46-74797FF28326}" type="pres">
      <dgm:prSet presAssocID="{4B973809-553E-4674-870F-E76481CC54C6}" presName="parentText" presStyleLbl="node1" presStyleIdx="4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10FA0B2-85E4-4F87-9733-432A7987095B}" type="pres">
      <dgm:prSet presAssocID="{4B973809-553E-4674-870F-E76481CC54C6}" presName="descendantText" presStyleLbl="alignAccFollowNode1" presStyleIdx="4" presStyleCnt="6" custScaleY="12151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B3C3411-E7CF-4F5E-A6B2-7781B3814C0D}" type="pres">
      <dgm:prSet presAssocID="{6B0CDFED-CA20-486F-9819-8CF4EAA60579}" presName="sp" presStyleCnt="0"/>
      <dgm:spPr/>
    </dgm:pt>
    <dgm:pt modelId="{51534471-2BC7-42BD-B754-FECA7D08EC1E}" type="pres">
      <dgm:prSet presAssocID="{6E4010DA-8017-4661-AA61-807FC8D804C6}" presName="linNode" presStyleCnt="0"/>
      <dgm:spPr/>
    </dgm:pt>
    <dgm:pt modelId="{748519A5-5BFB-419C-9FB2-E4A86AF0DF05}" type="pres">
      <dgm:prSet presAssocID="{6E4010DA-8017-4661-AA61-807FC8D804C6}" presName="parentText" presStyleLbl="node1" presStyleIdx="5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40E47FD-1462-48F9-A898-55E6067C5323}" type="pres">
      <dgm:prSet presAssocID="{6E4010DA-8017-4661-AA61-807FC8D804C6}" presName="descendantText" presStyleLbl="alignAccFollowNode1" presStyleIdx="5" presStyleCnt="6" custScaleY="121516" custLinFactNeighborY="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CDCFB62B-4747-45C1-A39E-66D9BA0A4859}" srcId="{E8E8B154-5134-4F4A-8854-44CC25EF126D}" destId="{29C7A33B-DD01-469A-A423-BF6065BDA36E}" srcOrd="0" destOrd="0" parTransId="{69CBFFE4-7087-49D6-8A23-6BB2263C5BC8}" sibTransId="{32BD146D-9949-4843-B022-AA89236B5FBE}"/>
    <dgm:cxn modelId="{4CF5262D-7C1A-4A6D-B918-C1309B85C935}" srcId="{46AE4904-092F-4D65-B16F-82B2FD90D48A}" destId="{A08986E1-42DE-40CA-A807-0009DCC90EF7}" srcOrd="3" destOrd="0" parTransId="{E0E3D072-D400-4FA8-A73C-CC34DE47F59F}" sibTransId="{80347AE7-74FE-43DE-8652-3F2A880EAFA8}"/>
    <dgm:cxn modelId="{F7A9CDD7-A837-40E2-B999-5DFE8B98777A}" type="presOf" srcId="{A08986E1-42DE-40CA-A807-0009DCC90EF7}" destId="{AC19E11A-B6D2-4DC8-929D-F55418C7C246}" srcOrd="0" destOrd="0" presId="urn:microsoft.com/office/officeart/2005/8/layout/vList5"/>
    <dgm:cxn modelId="{5FB48E8B-C6D2-48EF-9BDB-ABE0765E18C0}" srcId="{6E4010DA-8017-4661-AA61-807FC8D804C6}" destId="{10DAB713-8B10-4B80-95BD-CEA7AEF927F7}" srcOrd="0" destOrd="0" parTransId="{059F4DC9-8390-4693-BDD9-5847279B67AA}" sibTransId="{B816D6D6-A176-4D12-991D-A6601EB8C34A}"/>
    <dgm:cxn modelId="{110C2B7C-27D3-4025-9380-4327F93DEB63}" type="presOf" srcId="{7F0F5EC4-FEDC-4AB8-9FB7-29A572F542D3}" destId="{FBDB07B0-FBBD-496E-A9E5-927188278EBB}" srcOrd="0" destOrd="0" presId="urn:microsoft.com/office/officeart/2005/8/layout/vList5"/>
    <dgm:cxn modelId="{B72AA73D-AA5A-4F89-8ABA-504C411DD66C}" srcId="{4B973809-553E-4674-870F-E76481CC54C6}" destId="{FA9EDA1F-1E4C-49E2-8AC0-3DECEDD012C3}" srcOrd="0" destOrd="0" parTransId="{8AA5FD29-86E0-495A-A37D-91C268180CD7}" sibTransId="{0FF29250-9F33-4D6E-A0A3-96BBB6A44448}"/>
    <dgm:cxn modelId="{05CD9F58-D50C-426B-AE46-164C03854F84}" type="presOf" srcId="{0B299B7D-78A1-4CEB-853A-5B72053DBBDC}" destId="{1D36FD78-47EA-4B40-AE86-1843ADBD75B9}" srcOrd="0" destOrd="0" presId="urn:microsoft.com/office/officeart/2005/8/layout/vList5"/>
    <dgm:cxn modelId="{518C0C43-8975-411C-9F32-3856BAB94093}" srcId="{0B299B7D-78A1-4CEB-853A-5B72053DBBDC}" destId="{E762CEE0-E98D-4BD4-8AE1-A0F0424B7504}" srcOrd="0" destOrd="0" parTransId="{ADABD72F-B607-4ACD-B1BD-77499CF665C9}" sibTransId="{BB33A377-9F8F-48D3-84A5-CACA28F0D287}"/>
    <dgm:cxn modelId="{7990BA37-9D25-465F-8E8C-A38AFF16AAB1}" srcId="{46AE4904-092F-4D65-B16F-82B2FD90D48A}" destId="{4B973809-553E-4674-870F-E76481CC54C6}" srcOrd="4" destOrd="0" parTransId="{EEB929F1-61FD-45B0-8448-8ECA0FF278FF}" sibTransId="{6B0CDFED-CA20-486F-9819-8CF4EAA60579}"/>
    <dgm:cxn modelId="{ECA400BB-64EF-4935-A70F-AA88DFE9D408}" type="presOf" srcId="{E762CEE0-E98D-4BD4-8AE1-A0F0424B7504}" destId="{06BEB48E-E675-49CB-8E1C-14B6A89B71C1}" srcOrd="0" destOrd="0" presId="urn:microsoft.com/office/officeart/2005/8/layout/vList5"/>
    <dgm:cxn modelId="{9698D946-1B82-429D-BC32-47B6988E16BE}" srcId="{46AE4904-092F-4D65-B16F-82B2FD90D48A}" destId="{7F0F5EC4-FEDC-4AB8-9FB7-29A572F542D3}" srcOrd="1" destOrd="0" parTransId="{81E180A7-5957-4077-9C17-9412D3010D65}" sibTransId="{37F6706B-9FBC-4D3C-9845-CB0D3DBDAC59}"/>
    <dgm:cxn modelId="{6EE05FB3-0B68-4952-9252-A970B77BC5F6}" srcId="{46AE4904-092F-4D65-B16F-82B2FD90D48A}" destId="{E8E8B154-5134-4F4A-8854-44CC25EF126D}" srcOrd="0" destOrd="0" parTransId="{9CC249EF-7FA4-4AF6-88AC-D38041626DE0}" sibTransId="{62DE970C-348F-4C6E-8995-9CD7B7434B8B}"/>
    <dgm:cxn modelId="{7C0C0CA5-7E1B-49AB-BDB0-37588C36C9CC}" type="presOf" srcId="{46AE4904-092F-4D65-B16F-82B2FD90D48A}" destId="{B6BACC0C-C655-45C9-8613-E6170C889BA7}" srcOrd="0" destOrd="0" presId="urn:microsoft.com/office/officeart/2005/8/layout/vList5"/>
    <dgm:cxn modelId="{5C128A88-1331-4CA6-81CC-ED66AE58F55F}" srcId="{46AE4904-092F-4D65-B16F-82B2FD90D48A}" destId="{0B299B7D-78A1-4CEB-853A-5B72053DBBDC}" srcOrd="2" destOrd="0" parTransId="{3668A76E-98B8-47A0-BB45-8EF5058E1C15}" sibTransId="{9AF869E0-2F6E-46A1-B09C-FBD8D7571784}"/>
    <dgm:cxn modelId="{53BC89C2-FCE2-47EA-A79B-3E96BF8B8B3F}" type="presOf" srcId="{29C7A33B-DD01-469A-A423-BF6065BDA36E}" destId="{6665B03E-034D-4EAF-9511-0A588EBE0483}" srcOrd="0" destOrd="0" presId="urn:microsoft.com/office/officeart/2005/8/layout/vList5"/>
    <dgm:cxn modelId="{79E5EE39-F2E2-454B-B218-2F4EAF543137}" type="presOf" srcId="{31224F43-9144-4C3C-8714-F09EEB309634}" destId="{121DBBFD-6721-41A4-8CC8-3912B59079FD}" srcOrd="0" destOrd="0" presId="urn:microsoft.com/office/officeart/2005/8/layout/vList5"/>
    <dgm:cxn modelId="{B81929EF-7424-479C-B6ED-79DFDD3A8A7C}" type="presOf" srcId="{6E4010DA-8017-4661-AA61-807FC8D804C6}" destId="{748519A5-5BFB-419C-9FB2-E4A86AF0DF05}" srcOrd="0" destOrd="0" presId="urn:microsoft.com/office/officeart/2005/8/layout/vList5"/>
    <dgm:cxn modelId="{39389D79-3EB8-4B07-B15A-2F22CA305C9B}" type="presOf" srcId="{E8E8B154-5134-4F4A-8854-44CC25EF126D}" destId="{F48902FA-BC27-46C8-9CDA-8C0772C14EDC}" srcOrd="0" destOrd="0" presId="urn:microsoft.com/office/officeart/2005/8/layout/vList5"/>
    <dgm:cxn modelId="{80B3F09F-FED9-4C89-937C-C8C946F0EBF7}" type="presOf" srcId="{10DAB713-8B10-4B80-95BD-CEA7AEF927F7}" destId="{540E47FD-1462-48F9-A898-55E6067C5323}" srcOrd="0" destOrd="0" presId="urn:microsoft.com/office/officeart/2005/8/layout/vList5"/>
    <dgm:cxn modelId="{97E552D8-D98F-4883-85CA-2424B0D5F120}" type="presOf" srcId="{D00504CE-D5C8-434D-9DF5-A8DCD1CEEEE4}" destId="{4281C372-CEB7-434E-8C4C-3657416CCCF4}" srcOrd="0" destOrd="0" presId="urn:microsoft.com/office/officeart/2005/8/layout/vList5"/>
    <dgm:cxn modelId="{7DC5B606-FD74-4F62-BA96-28FD6D038470}" type="presOf" srcId="{FA9EDA1F-1E4C-49E2-8AC0-3DECEDD012C3}" destId="{C10FA0B2-85E4-4F87-9733-432A7987095B}" srcOrd="0" destOrd="0" presId="urn:microsoft.com/office/officeart/2005/8/layout/vList5"/>
    <dgm:cxn modelId="{11B9B8BF-B73A-4AE2-8C6E-46AE8D216ECB}" srcId="{A08986E1-42DE-40CA-A807-0009DCC90EF7}" destId="{D00504CE-D5C8-434D-9DF5-A8DCD1CEEEE4}" srcOrd="0" destOrd="0" parTransId="{1AE28733-93E9-45AC-B2BE-E2B8C088B9E4}" sibTransId="{CF200460-3BD8-48B2-A29A-7350D33E1794}"/>
    <dgm:cxn modelId="{11D628BF-8411-4AD5-A4C4-EB3794AE2206}" srcId="{46AE4904-092F-4D65-B16F-82B2FD90D48A}" destId="{6E4010DA-8017-4661-AA61-807FC8D804C6}" srcOrd="5" destOrd="0" parTransId="{85AEBBBB-627C-4D00-BD9C-67ACC3035277}" sibTransId="{E2E9C1C9-047D-4D0D-8B17-6E84F043B519}"/>
    <dgm:cxn modelId="{19F96A80-2413-4DAF-8D13-F5AAB8BD1154}" type="presOf" srcId="{4B973809-553E-4674-870F-E76481CC54C6}" destId="{2EC09480-EEAD-4C4D-9A46-74797FF28326}" srcOrd="0" destOrd="0" presId="urn:microsoft.com/office/officeart/2005/8/layout/vList5"/>
    <dgm:cxn modelId="{72ED4D56-CAA2-4A7C-927E-2F51BB79DEA0}" srcId="{7F0F5EC4-FEDC-4AB8-9FB7-29A572F542D3}" destId="{31224F43-9144-4C3C-8714-F09EEB309634}" srcOrd="0" destOrd="0" parTransId="{56B37187-975D-42D4-B3A1-5703A691454C}" sibTransId="{5B884252-9960-4564-A2D6-504DEB42812D}"/>
    <dgm:cxn modelId="{DB4F9D83-A46C-4197-8EB6-2A177FC4E1B3}" type="presParOf" srcId="{B6BACC0C-C655-45C9-8613-E6170C889BA7}" destId="{0ED2953E-DB33-4B14-AB81-D0031830E1A4}" srcOrd="0" destOrd="0" presId="urn:microsoft.com/office/officeart/2005/8/layout/vList5"/>
    <dgm:cxn modelId="{10A0FE54-0901-4699-8FA0-EE0B13658560}" type="presParOf" srcId="{0ED2953E-DB33-4B14-AB81-D0031830E1A4}" destId="{F48902FA-BC27-46C8-9CDA-8C0772C14EDC}" srcOrd="0" destOrd="0" presId="urn:microsoft.com/office/officeart/2005/8/layout/vList5"/>
    <dgm:cxn modelId="{64EB614E-9B40-427B-9CEE-C0AB8851696C}" type="presParOf" srcId="{0ED2953E-DB33-4B14-AB81-D0031830E1A4}" destId="{6665B03E-034D-4EAF-9511-0A588EBE0483}" srcOrd="1" destOrd="0" presId="urn:microsoft.com/office/officeart/2005/8/layout/vList5"/>
    <dgm:cxn modelId="{EA3B590A-E8DE-460A-A0CA-30760861059E}" type="presParOf" srcId="{B6BACC0C-C655-45C9-8613-E6170C889BA7}" destId="{D801E54A-2967-4164-9147-7883B9A4F37B}" srcOrd="1" destOrd="0" presId="urn:microsoft.com/office/officeart/2005/8/layout/vList5"/>
    <dgm:cxn modelId="{5CE9DD53-3F63-488E-B337-438EEFBAD737}" type="presParOf" srcId="{B6BACC0C-C655-45C9-8613-E6170C889BA7}" destId="{86FB5E32-9CFD-4C62-80DF-AD9E2A46A8CA}" srcOrd="2" destOrd="0" presId="urn:microsoft.com/office/officeart/2005/8/layout/vList5"/>
    <dgm:cxn modelId="{D481F4EA-6487-4B1E-9564-E676CE05C297}" type="presParOf" srcId="{86FB5E32-9CFD-4C62-80DF-AD9E2A46A8CA}" destId="{FBDB07B0-FBBD-496E-A9E5-927188278EBB}" srcOrd="0" destOrd="0" presId="urn:microsoft.com/office/officeart/2005/8/layout/vList5"/>
    <dgm:cxn modelId="{BE2092AC-13F4-4B1D-AD61-3972952C45DC}" type="presParOf" srcId="{86FB5E32-9CFD-4C62-80DF-AD9E2A46A8CA}" destId="{121DBBFD-6721-41A4-8CC8-3912B59079FD}" srcOrd="1" destOrd="0" presId="urn:microsoft.com/office/officeart/2005/8/layout/vList5"/>
    <dgm:cxn modelId="{F66D994B-0ECB-4911-AEE4-DE98969763A7}" type="presParOf" srcId="{B6BACC0C-C655-45C9-8613-E6170C889BA7}" destId="{5A235E7B-3EC9-4D32-A94A-3657516E88CA}" srcOrd="3" destOrd="0" presId="urn:microsoft.com/office/officeart/2005/8/layout/vList5"/>
    <dgm:cxn modelId="{203E24BE-1274-4175-84C4-50E6004E210C}" type="presParOf" srcId="{B6BACC0C-C655-45C9-8613-E6170C889BA7}" destId="{899FB402-105C-48E0-BA08-1F434783A1F6}" srcOrd="4" destOrd="0" presId="urn:microsoft.com/office/officeart/2005/8/layout/vList5"/>
    <dgm:cxn modelId="{4F4954BB-3F0E-41DA-B646-B4A471F178B5}" type="presParOf" srcId="{899FB402-105C-48E0-BA08-1F434783A1F6}" destId="{1D36FD78-47EA-4B40-AE86-1843ADBD75B9}" srcOrd="0" destOrd="0" presId="urn:microsoft.com/office/officeart/2005/8/layout/vList5"/>
    <dgm:cxn modelId="{979FA206-E72E-46B8-A31A-08BF51332F46}" type="presParOf" srcId="{899FB402-105C-48E0-BA08-1F434783A1F6}" destId="{06BEB48E-E675-49CB-8E1C-14B6A89B71C1}" srcOrd="1" destOrd="0" presId="urn:microsoft.com/office/officeart/2005/8/layout/vList5"/>
    <dgm:cxn modelId="{052371A4-B6B4-4114-87B1-BE0377CC8EE3}" type="presParOf" srcId="{B6BACC0C-C655-45C9-8613-E6170C889BA7}" destId="{7CC75076-6B28-4D79-82CF-064A072E55AB}" srcOrd="5" destOrd="0" presId="urn:microsoft.com/office/officeart/2005/8/layout/vList5"/>
    <dgm:cxn modelId="{37C1B9CD-C276-4687-B498-69C615C0DC87}" type="presParOf" srcId="{B6BACC0C-C655-45C9-8613-E6170C889BA7}" destId="{C8F04175-1E37-40E5-B6EF-C3B90B663621}" srcOrd="6" destOrd="0" presId="urn:microsoft.com/office/officeart/2005/8/layout/vList5"/>
    <dgm:cxn modelId="{4E184011-011F-49E3-A34B-6CDB12FFBC23}" type="presParOf" srcId="{C8F04175-1E37-40E5-B6EF-C3B90B663621}" destId="{AC19E11A-B6D2-4DC8-929D-F55418C7C246}" srcOrd="0" destOrd="0" presId="urn:microsoft.com/office/officeart/2005/8/layout/vList5"/>
    <dgm:cxn modelId="{F9F105B3-A266-497D-8A63-3A4C00C72929}" type="presParOf" srcId="{C8F04175-1E37-40E5-B6EF-C3B90B663621}" destId="{4281C372-CEB7-434E-8C4C-3657416CCCF4}" srcOrd="1" destOrd="0" presId="urn:microsoft.com/office/officeart/2005/8/layout/vList5"/>
    <dgm:cxn modelId="{51B6E56A-F480-462D-AFC4-955145B66C5C}" type="presParOf" srcId="{B6BACC0C-C655-45C9-8613-E6170C889BA7}" destId="{4F43E8D1-50B4-4C74-A3BD-885D2C015F0E}" srcOrd="7" destOrd="0" presId="urn:microsoft.com/office/officeart/2005/8/layout/vList5"/>
    <dgm:cxn modelId="{458CFCE0-718E-4C0D-9E65-2E6A1223E13E}" type="presParOf" srcId="{B6BACC0C-C655-45C9-8613-E6170C889BA7}" destId="{69832E25-1747-4A6C-9CA6-2354CD336DC1}" srcOrd="8" destOrd="0" presId="urn:microsoft.com/office/officeart/2005/8/layout/vList5"/>
    <dgm:cxn modelId="{D453AB6B-ECF1-43C0-BCA6-CF5AADCBA816}" type="presParOf" srcId="{69832E25-1747-4A6C-9CA6-2354CD336DC1}" destId="{2EC09480-EEAD-4C4D-9A46-74797FF28326}" srcOrd="0" destOrd="0" presId="urn:microsoft.com/office/officeart/2005/8/layout/vList5"/>
    <dgm:cxn modelId="{ED7A0769-EAC0-4067-84F5-3B72265DDFA8}" type="presParOf" srcId="{69832E25-1747-4A6C-9CA6-2354CD336DC1}" destId="{C10FA0B2-85E4-4F87-9733-432A7987095B}" srcOrd="1" destOrd="0" presId="urn:microsoft.com/office/officeart/2005/8/layout/vList5"/>
    <dgm:cxn modelId="{3D5E09AC-8E3E-48B5-A42C-59DAC3E3E9F8}" type="presParOf" srcId="{B6BACC0C-C655-45C9-8613-E6170C889BA7}" destId="{8B3C3411-E7CF-4F5E-A6B2-7781B3814C0D}" srcOrd="9" destOrd="0" presId="urn:microsoft.com/office/officeart/2005/8/layout/vList5"/>
    <dgm:cxn modelId="{B343A823-B103-44BF-9372-E40A223CCB68}" type="presParOf" srcId="{B6BACC0C-C655-45C9-8613-E6170C889BA7}" destId="{51534471-2BC7-42BD-B754-FECA7D08EC1E}" srcOrd="10" destOrd="0" presId="urn:microsoft.com/office/officeart/2005/8/layout/vList5"/>
    <dgm:cxn modelId="{A94F25EA-CD8C-4B4E-8DD5-9131E4E31770}" type="presParOf" srcId="{51534471-2BC7-42BD-B754-FECA7D08EC1E}" destId="{748519A5-5BFB-419C-9FB2-E4A86AF0DF05}" srcOrd="0" destOrd="0" presId="urn:microsoft.com/office/officeart/2005/8/layout/vList5"/>
    <dgm:cxn modelId="{FB6A3C25-5464-4D2A-ACED-7F9065D20E5F}" type="presParOf" srcId="{51534471-2BC7-42BD-B754-FECA7D08EC1E}" destId="{540E47FD-1462-48F9-A898-55E6067C5323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6AE4904-092F-4D65-B16F-82B2FD90D48A}" type="doc">
      <dgm:prSet loTypeId="urn:microsoft.com/office/officeart/2005/8/layout/vList5" loCatId="list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29C7A33B-DD01-469A-A423-BF6065BDA36E}">
      <dgm:prSet phldrT="[Текст]" custT="1"/>
      <dgm:spPr/>
      <dgm:t>
        <a:bodyPr/>
        <a:lstStyle/>
        <a:p>
          <a:r>
            <a:rPr lang="ru-RU" sz="11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Пропускная способность</a:t>
          </a:r>
        </a:p>
      </dgm:t>
    </dgm:pt>
    <dgm:pt modelId="{69CBFFE4-7087-49D6-8A23-6BB2263C5BC8}" type="parTrans" cxnId="{CDCFB62B-4747-45C1-A39E-66D9BA0A4859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32BD146D-9949-4843-B022-AA89236B5FBE}" type="sibTrans" cxnId="{CDCFB62B-4747-45C1-A39E-66D9BA0A4859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31224F43-9144-4C3C-8714-F09EEB309634}">
      <dgm:prSet phldrT="[Текст]" custT="1"/>
      <dgm:spPr/>
      <dgm:t>
        <a:bodyPr/>
        <a:lstStyle/>
        <a:p>
          <a:r>
            <a:rPr lang="ru-RU" sz="1100" b="1" dirty="0">
              <a:latin typeface="Tahoma" pitchFamily="34" charset="0"/>
              <a:ea typeface="Tahoma" pitchFamily="34" charset="0"/>
              <a:cs typeface="Tahoma" pitchFamily="34" charset="0"/>
            </a:rPr>
            <a:t>Максимальный объем единовременного хранения </a:t>
          </a:r>
        </a:p>
      </dgm:t>
    </dgm:pt>
    <dgm:pt modelId="{56B37187-975D-42D4-B3A1-5703A691454C}" type="parTrans" cxnId="{72ED4D56-CAA2-4A7C-927E-2F51BB79DEA0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5B884252-9960-4564-A2D6-504DEB42812D}" type="sibTrans" cxnId="{72ED4D56-CAA2-4A7C-927E-2F51BB79DEA0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0B299B7D-78A1-4CEB-853A-5B72053DBBDC}">
      <dgm:prSet phldrT="[Текст]" custT="1"/>
      <dgm:spPr>
        <a:solidFill>
          <a:schemeClr val="accent2">
            <a:lumMod val="90000"/>
          </a:schemeClr>
        </a:solidFill>
      </dgm:spPr>
      <dgm:t>
        <a:bodyPr/>
        <a:lstStyle/>
        <a:p>
          <a:r>
            <a:rPr lang="ru-RU" sz="1500" b="1" dirty="0" smtClean="0"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24 единиц </a:t>
          </a:r>
          <a:endParaRPr lang="ru-RU" sz="1500" b="1" dirty="0">
            <a:solidFill>
              <a:schemeClr val="tx1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3668A76E-98B8-47A0-BB45-8EF5058E1C15}" type="parTrans" cxnId="{5C128A88-1331-4CA6-81CC-ED66AE58F55F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9AF869E0-2F6E-46A1-B09C-FBD8D7571784}" type="sibTrans" cxnId="{5C128A88-1331-4CA6-81CC-ED66AE58F55F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E762CEE0-E98D-4BD4-8AE1-A0F0424B7504}">
      <dgm:prSet phldrT="[Текст]" custT="1"/>
      <dgm:spPr/>
      <dgm:t>
        <a:bodyPr/>
        <a:lstStyle/>
        <a:p>
          <a:r>
            <a:rPr lang="ru-RU" sz="1100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Портальных и козловых </a:t>
          </a:r>
          <a:r>
            <a:rPr lang="ru-RU" sz="1100" b="1" dirty="0">
              <a:latin typeface="Tahoma" pitchFamily="34" charset="0"/>
              <a:ea typeface="Tahoma" pitchFamily="34" charset="0"/>
              <a:cs typeface="Tahoma" pitchFamily="34" charset="0"/>
            </a:rPr>
            <a:t>кранов </a:t>
          </a:r>
          <a:r>
            <a:rPr lang="ru-RU" sz="1100" b="1" dirty="0">
              <a:effectLst/>
              <a:latin typeface="Tahoma" pitchFamily="34" charset="0"/>
              <a:ea typeface="Tahoma" pitchFamily="34" charset="0"/>
              <a:cs typeface="Tahoma" pitchFamily="34" charset="0"/>
            </a:rPr>
            <a:t>грузоподъемностью от 5 </a:t>
          </a:r>
          <a:r>
            <a:rPr lang="ru-RU" sz="1100" b="1" dirty="0" smtClean="0">
              <a:effectLst/>
              <a:latin typeface="Tahoma" pitchFamily="34" charset="0"/>
              <a:ea typeface="Tahoma" pitchFamily="34" charset="0"/>
              <a:cs typeface="Tahoma" pitchFamily="34" charset="0"/>
            </a:rPr>
            <a:t>до 32т.</a:t>
          </a:r>
          <a:endParaRPr lang="ru-RU" sz="1100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ADABD72F-B607-4ACD-B1BD-77499CF665C9}" type="parTrans" cxnId="{518C0C43-8975-411C-9F32-3856BAB94093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BB33A377-9F8F-48D3-84A5-CACA28F0D287}" type="sibTrans" cxnId="{518C0C43-8975-411C-9F32-3856BAB94093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D00504CE-D5C8-434D-9DF5-A8DCD1CEEEE4}">
      <dgm:prSet phldrT="[Текст]" custT="1"/>
      <dgm:spPr/>
      <dgm:t>
        <a:bodyPr/>
        <a:lstStyle/>
        <a:p>
          <a:r>
            <a:rPr lang="ru-RU" sz="1100" b="1" dirty="0" smtClean="0"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Малой механизации, в </a:t>
          </a:r>
          <a:r>
            <a:rPr lang="ru-RU" sz="1100" b="1" dirty="0" err="1" smtClean="0"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т.ч</a:t>
          </a:r>
          <a:r>
            <a:rPr lang="ru-RU" sz="1100" b="1" dirty="0" smtClean="0"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. Автопогрузчики грузоподъемностью </a:t>
          </a:r>
          <a:r>
            <a:rPr lang="ru-RU" sz="1100" b="1" dirty="0"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от </a:t>
          </a:r>
          <a:r>
            <a:rPr lang="ru-RU" sz="1100" b="1" dirty="0" smtClean="0"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1,2 </a:t>
          </a:r>
          <a:r>
            <a:rPr lang="ru-RU" sz="1100" b="1" dirty="0"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до 45 тн</a:t>
          </a:r>
          <a:endParaRPr lang="ru-RU" sz="1100" b="1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1AE28733-93E9-45AC-B2BE-E2B8C088B9E4}" type="parTrans" cxnId="{11B9B8BF-B73A-4AE2-8C6E-46AE8D216ECB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CF200460-3BD8-48B2-A29A-7350D33E1794}" type="sibTrans" cxnId="{11B9B8BF-B73A-4AE2-8C6E-46AE8D216ECB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A08986E1-42DE-40CA-A807-0009DCC90EF7}">
      <dgm:prSet phldrT="[Текст]" custT="1"/>
      <dgm:spPr>
        <a:solidFill>
          <a:schemeClr val="accent2">
            <a:lumMod val="90000"/>
          </a:schemeClr>
        </a:solidFill>
      </dgm:spPr>
      <dgm:t>
        <a:bodyPr/>
        <a:lstStyle/>
        <a:p>
          <a:r>
            <a:rPr lang="ru-RU" sz="1500" b="1" dirty="0" smtClean="0"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23 единицы</a:t>
          </a:r>
          <a:endParaRPr lang="ru-RU" sz="1500" b="1" dirty="0">
            <a:solidFill>
              <a:schemeClr val="tx1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E0E3D072-D400-4FA8-A73C-CC34DE47F59F}" type="parTrans" cxnId="{4CF5262D-7C1A-4A6D-B918-C1309B85C935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80347AE7-74FE-43DE-8652-3F2A880EAFA8}" type="sibTrans" cxnId="{4CF5262D-7C1A-4A6D-B918-C1309B85C935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6E4010DA-8017-4661-AA61-807FC8D804C6}">
      <dgm:prSet phldrT="[Текст]" custT="1"/>
      <dgm:spPr>
        <a:solidFill>
          <a:schemeClr val="accent2">
            <a:lumMod val="90000"/>
          </a:schemeClr>
        </a:solidFill>
      </dgm:spPr>
      <dgm:t>
        <a:bodyPr/>
        <a:lstStyle/>
        <a:p>
          <a:r>
            <a:rPr lang="ru-RU" sz="1500" b="1" dirty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rPr>
            <a:t>Связь с железной дорогой </a:t>
          </a:r>
        </a:p>
      </dgm:t>
    </dgm:pt>
    <dgm:pt modelId="{85AEBBBB-627C-4D00-BD9C-67ACC3035277}" type="parTrans" cxnId="{11D628BF-8411-4AD5-A4C4-EB3794AE2206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E2E9C1C9-047D-4D0D-8B17-6E84F043B519}" type="sibTrans" cxnId="{11D628BF-8411-4AD5-A4C4-EB3794AE2206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10DAB713-8B10-4B80-95BD-CEA7AEF927F7}">
      <dgm:prSet phldrT="[Текст]" custT="1"/>
      <dgm:spPr/>
      <dgm:t>
        <a:bodyPr/>
        <a:lstStyle/>
        <a:p>
          <a:r>
            <a:rPr lang="ru-RU" sz="1100" b="1" dirty="0"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Выход на </a:t>
          </a:r>
          <a:r>
            <a:rPr lang="ru-RU" sz="1100" b="1" dirty="0" smtClean="0"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станцию </a:t>
          </a:r>
          <a:r>
            <a:rPr lang="ru-RU" sz="1100" b="1" dirty="0" err="1" smtClean="0"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Лесосибирск</a:t>
          </a:r>
          <a:r>
            <a:rPr lang="ru-RU" sz="1100" b="1" dirty="0" smtClean="0"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 Транссибирской </a:t>
          </a:r>
          <a:r>
            <a:rPr lang="ru-RU" sz="1100" b="1" dirty="0"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железнодорожной магистрали</a:t>
          </a:r>
          <a:endParaRPr lang="ru-RU" sz="1100" b="1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059F4DC9-8390-4693-BDD9-5847279B67AA}" type="parTrans" cxnId="{5FB48E8B-C6D2-48EF-9BDB-ABE0765E18C0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B816D6D6-A176-4D12-991D-A6601EB8C34A}" type="sibTrans" cxnId="{5FB48E8B-C6D2-48EF-9BDB-ABE0765E18C0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4B973809-553E-4674-870F-E76481CC54C6}">
      <dgm:prSet phldrT="[Текст]" custT="1"/>
      <dgm:spPr>
        <a:solidFill>
          <a:schemeClr val="accent2">
            <a:lumMod val="90000"/>
          </a:schemeClr>
        </a:solidFill>
      </dgm:spPr>
      <dgm:t>
        <a:bodyPr/>
        <a:lstStyle/>
        <a:p>
          <a:r>
            <a:rPr lang="ru-RU" sz="1500" b="1" dirty="0" smtClean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3 причала </a:t>
          </a:r>
          <a:endParaRPr lang="ru-RU" sz="1500" b="1" dirty="0">
            <a:solidFill>
              <a:schemeClr val="tx1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EEB929F1-61FD-45B0-8448-8ECA0FF278FF}" type="parTrans" cxnId="{7990BA37-9D25-465F-8E8C-A38AFF16AAB1}">
      <dgm:prSet/>
      <dgm:spPr/>
      <dgm:t>
        <a:bodyPr/>
        <a:lstStyle/>
        <a:p>
          <a:endParaRPr lang="ru-RU"/>
        </a:p>
      </dgm:t>
    </dgm:pt>
    <dgm:pt modelId="{6B0CDFED-CA20-486F-9819-8CF4EAA60579}" type="sibTrans" cxnId="{7990BA37-9D25-465F-8E8C-A38AFF16AAB1}">
      <dgm:prSet/>
      <dgm:spPr/>
      <dgm:t>
        <a:bodyPr/>
        <a:lstStyle/>
        <a:p>
          <a:endParaRPr lang="ru-RU"/>
        </a:p>
      </dgm:t>
    </dgm:pt>
    <dgm:pt modelId="{FA9EDA1F-1E4C-49E2-8AC0-3DECEDD012C3}">
      <dgm:prSet phldrT="[Текст]" custT="1"/>
      <dgm:spPr/>
      <dgm:t>
        <a:bodyPr/>
        <a:lstStyle/>
        <a:p>
          <a:r>
            <a:rPr lang="ru-RU" sz="11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Общей протяженностью </a:t>
          </a:r>
          <a:r>
            <a:rPr lang="ru-RU" sz="11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700м</a:t>
          </a:r>
          <a:endParaRPr lang="ru-RU" sz="1100" b="1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8AA5FD29-86E0-495A-A37D-91C268180CD7}" type="parTrans" cxnId="{B72AA73D-AA5A-4F89-8ABA-504C411DD66C}">
      <dgm:prSet/>
      <dgm:spPr/>
      <dgm:t>
        <a:bodyPr/>
        <a:lstStyle/>
        <a:p>
          <a:endParaRPr lang="ru-RU"/>
        </a:p>
      </dgm:t>
    </dgm:pt>
    <dgm:pt modelId="{0FF29250-9F33-4D6E-A0A3-96BBB6A44448}" type="sibTrans" cxnId="{B72AA73D-AA5A-4F89-8ABA-504C411DD66C}">
      <dgm:prSet/>
      <dgm:spPr/>
      <dgm:t>
        <a:bodyPr/>
        <a:lstStyle/>
        <a:p>
          <a:endParaRPr lang="ru-RU"/>
        </a:p>
      </dgm:t>
    </dgm:pt>
    <dgm:pt modelId="{7F0F5EC4-FEDC-4AB8-9FB7-29A572F542D3}">
      <dgm:prSet phldrT="[Текст]" custT="1"/>
      <dgm:spPr>
        <a:solidFill>
          <a:schemeClr val="accent2">
            <a:lumMod val="90000"/>
          </a:schemeClr>
        </a:solidFill>
      </dgm:spPr>
      <dgm:t>
        <a:bodyPr/>
        <a:lstStyle/>
        <a:p>
          <a:r>
            <a:rPr lang="ru-RU" sz="1500" b="1" dirty="0" smtClean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rPr>
            <a:t>500 тыс</a:t>
          </a:r>
          <a:r>
            <a:rPr lang="ru-RU" sz="1500" b="1" dirty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rPr>
            <a:t>. тн</a:t>
          </a:r>
        </a:p>
      </dgm:t>
    </dgm:pt>
    <dgm:pt modelId="{37F6706B-9FBC-4D3C-9845-CB0D3DBDAC59}" type="sibTrans" cxnId="{9698D946-1B82-429D-BC32-47B6988E16BE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81E180A7-5957-4077-9C17-9412D3010D65}" type="parTrans" cxnId="{9698D946-1B82-429D-BC32-47B6988E16BE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E8E8B154-5134-4F4A-8854-44CC25EF126D}">
      <dgm:prSet phldrT="[Текст]" custT="1"/>
      <dgm:spPr>
        <a:solidFill>
          <a:schemeClr val="accent2">
            <a:lumMod val="90000"/>
          </a:schemeClr>
        </a:solidFill>
      </dgm:spPr>
      <dgm:t>
        <a:bodyPr/>
        <a:lstStyle/>
        <a:p>
          <a:pPr>
            <a:buClrTx/>
            <a:buSzTx/>
            <a:buFontTx/>
            <a:buNone/>
          </a:pPr>
          <a:r>
            <a:rPr lang="ru-RU" sz="1500" b="1" i="0" dirty="0" smtClean="0"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1,2 млн</a:t>
          </a:r>
          <a:r>
            <a:rPr lang="ru-RU" sz="1500" b="1" i="0" dirty="0"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. тн в год</a:t>
          </a:r>
          <a:endParaRPr lang="ru-RU" sz="1500" b="1" dirty="0">
            <a:solidFill>
              <a:schemeClr val="tx1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62DE970C-348F-4C6E-8995-9CD7B7434B8B}" type="sibTrans" cxnId="{6EE05FB3-0B68-4952-9252-A970B77BC5F6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9CC249EF-7FA4-4AF6-88AC-D38041626DE0}" type="parTrans" cxnId="{6EE05FB3-0B68-4952-9252-A970B77BC5F6}">
      <dgm:prSet/>
      <dgm:spPr/>
      <dgm:t>
        <a:bodyPr/>
        <a:lstStyle/>
        <a:p>
          <a:endParaRPr lang="ru-RU" sz="1100" b="1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B6BACC0C-C655-45C9-8613-E6170C889BA7}" type="pres">
      <dgm:prSet presAssocID="{46AE4904-092F-4D65-B16F-82B2FD90D48A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ED2953E-DB33-4B14-AB81-D0031830E1A4}" type="pres">
      <dgm:prSet presAssocID="{E8E8B154-5134-4F4A-8854-44CC25EF126D}" presName="linNode" presStyleCnt="0"/>
      <dgm:spPr/>
    </dgm:pt>
    <dgm:pt modelId="{F48902FA-BC27-46C8-9CDA-8C0772C14EDC}" type="pres">
      <dgm:prSet presAssocID="{E8E8B154-5134-4F4A-8854-44CC25EF126D}" presName="parentText" presStyleLbl="node1" presStyleIdx="0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665B03E-034D-4EAF-9511-0A588EBE0483}" type="pres">
      <dgm:prSet presAssocID="{E8E8B154-5134-4F4A-8854-44CC25EF126D}" presName="descendantText" presStyleLbl="alignAccFollowNode1" presStyleIdx="0" presStyleCnt="6" custScaleY="12151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801E54A-2967-4164-9147-7883B9A4F37B}" type="pres">
      <dgm:prSet presAssocID="{62DE970C-348F-4C6E-8995-9CD7B7434B8B}" presName="sp" presStyleCnt="0"/>
      <dgm:spPr/>
    </dgm:pt>
    <dgm:pt modelId="{86FB5E32-9CFD-4C62-80DF-AD9E2A46A8CA}" type="pres">
      <dgm:prSet presAssocID="{7F0F5EC4-FEDC-4AB8-9FB7-29A572F542D3}" presName="linNode" presStyleCnt="0"/>
      <dgm:spPr/>
    </dgm:pt>
    <dgm:pt modelId="{FBDB07B0-FBBD-496E-A9E5-927188278EBB}" type="pres">
      <dgm:prSet presAssocID="{7F0F5EC4-FEDC-4AB8-9FB7-29A572F542D3}" presName="parentText" presStyleLbl="node1" presStyleIdx="1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21DBBFD-6721-41A4-8CC8-3912B59079FD}" type="pres">
      <dgm:prSet presAssocID="{7F0F5EC4-FEDC-4AB8-9FB7-29A572F542D3}" presName="descendantText" presStyleLbl="alignAccFollowNode1" presStyleIdx="1" presStyleCnt="6" custScaleY="12151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A235E7B-3EC9-4D32-A94A-3657516E88CA}" type="pres">
      <dgm:prSet presAssocID="{37F6706B-9FBC-4D3C-9845-CB0D3DBDAC59}" presName="sp" presStyleCnt="0"/>
      <dgm:spPr/>
    </dgm:pt>
    <dgm:pt modelId="{899FB402-105C-48E0-BA08-1F434783A1F6}" type="pres">
      <dgm:prSet presAssocID="{0B299B7D-78A1-4CEB-853A-5B72053DBBDC}" presName="linNode" presStyleCnt="0"/>
      <dgm:spPr/>
    </dgm:pt>
    <dgm:pt modelId="{1D36FD78-47EA-4B40-AE86-1843ADBD75B9}" type="pres">
      <dgm:prSet presAssocID="{0B299B7D-78A1-4CEB-853A-5B72053DBBDC}" presName="parentText" presStyleLbl="node1" presStyleIdx="2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6BEB48E-E675-49CB-8E1C-14B6A89B71C1}" type="pres">
      <dgm:prSet presAssocID="{0B299B7D-78A1-4CEB-853A-5B72053DBBDC}" presName="descendantText" presStyleLbl="alignAccFollowNode1" presStyleIdx="2" presStyleCnt="6" custScaleY="12151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CC75076-6B28-4D79-82CF-064A072E55AB}" type="pres">
      <dgm:prSet presAssocID="{9AF869E0-2F6E-46A1-B09C-FBD8D7571784}" presName="sp" presStyleCnt="0"/>
      <dgm:spPr/>
    </dgm:pt>
    <dgm:pt modelId="{C8F04175-1E37-40E5-B6EF-C3B90B663621}" type="pres">
      <dgm:prSet presAssocID="{A08986E1-42DE-40CA-A807-0009DCC90EF7}" presName="linNode" presStyleCnt="0"/>
      <dgm:spPr/>
    </dgm:pt>
    <dgm:pt modelId="{AC19E11A-B6D2-4DC8-929D-F55418C7C246}" type="pres">
      <dgm:prSet presAssocID="{A08986E1-42DE-40CA-A807-0009DCC90EF7}" presName="parentText" presStyleLbl="node1" presStyleIdx="3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281C372-CEB7-434E-8C4C-3657416CCCF4}" type="pres">
      <dgm:prSet presAssocID="{A08986E1-42DE-40CA-A807-0009DCC90EF7}" presName="descendantText" presStyleLbl="alignAccFollowNode1" presStyleIdx="3" presStyleCnt="6" custScaleY="12151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F43E8D1-50B4-4C74-A3BD-885D2C015F0E}" type="pres">
      <dgm:prSet presAssocID="{80347AE7-74FE-43DE-8652-3F2A880EAFA8}" presName="sp" presStyleCnt="0"/>
      <dgm:spPr/>
    </dgm:pt>
    <dgm:pt modelId="{69832E25-1747-4A6C-9CA6-2354CD336DC1}" type="pres">
      <dgm:prSet presAssocID="{4B973809-553E-4674-870F-E76481CC54C6}" presName="linNode" presStyleCnt="0"/>
      <dgm:spPr/>
    </dgm:pt>
    <dgm:pt modelId="{2EC09480-EEAD-4C4D-9A46-74797FF28326}" type="pres">
      <dgm:prSet presAssocID="{4B973809-553E-4674-870F-E76481CC54C6}" presName="parentText" presStyleLbl="node1" presStyleIdx="4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10FA0B2-85E4-4F87-9733-432A7987095B}" type="pres">
      <dgm:prSet presAssocID="{4B973809-553E-4674-870F-E76481CC54C6}" presName="descendantText" presStyleLbl="alignAccFollowNode1" presStyleIdx="4" presStyleCnt="6" custScaleY="12151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B3C3411-E7CF-4F5E-A6B2-7781B3814C0D}" type="pres">
      <dgm:prSet presAssocID="{6B0CDFED-CA20-486F-9819-8CF4EAA60579}" presName="sp" presStyleCnt="0"/>
      <dgm:spPr/>
    </dgm:pt>
    <dgm:pt modelId="{51534471-2BC7-42BD-B754-FECA7D08EC1E}" type="pres">
      <dgm:prSet presAssocID="{6E4010DA-8017-4661-AA61-807FC8D804C6}" presName="linNode" presStyleCnt="0"/>
      <dgm:spPr/>
    </dgm:pt>
    <dgm:pt modelId="{748519A5-5BFB-419C-9FB2-E4A86AF0DF05}" type="pres">
      <dgm:prSet presAssocID="{6E4010DA-8017-4661-AA61-807FC8D804C6}" presName="parentText" presStyleLbl="node1" presStyleIdx="5" presStyleCnt="6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40E47FD-1462-48F9-A898-55E6067C5323}" type="pres">
      <dgm:prSet presAssocID="{6E4010DA-8017-4661-AA61-807FC8D804C6}" presName="descendantText" presStyleLbl="alignAccFollowNode1" presStyleIdx="5" presStyleCnt="6" custScaleY="121516" custLinFactNeighborY="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CDCFB62B-4747-45C1-A39E-66D9BA0A4859}" srcId="{E8E8B154-5134-4F4A-8854-44CC25EF126D}" destId="{29C7A33B-DD01-469A-A423-BF6065BDA36E}" srcOrd="0" destOrd="0" parTransId="{69CBFFE4-7087-49D6-8A23-6BB2263C5BC8}" sibTransId="{32BD146D-9949-4843-B022-AA89236B5FBE}"/>
    <dgm:cxn modelId="{4CF5262D-7C1A-4A6D-B918-C1309B85C935}" srcId="{46AE4904-092F-4D65-B16F-82B2FD90D48A}" destId="{A08986E1-42DE-40CA-A807-0009DCC90EF7}" srcOrd="3" destOrd="0" parTransId="{E0E3D072-D400-4FA8-A73C-CC34DE47F59F}" sibTransId="{80347AE7-74FE-43DE-8652-3F2A880EAFA8}"/>
    <dgm:cxn modelId="{F7A9CDD7-A837-40E2-B999-5DFE8B98777A}" type="presOf" srcId="{A08986E1-42DE-40CA-A807-0009DCC90EF7}" destId="{AC19E11A-B6D2-4DC8-929D-F55418C7C246}" srcOrd="0" destOrd="0" presId="urn:microsoft.com/office/officeart/2005/8/layout/vList5"/>
    <dgm:cxn modelId="{5FB48E8B-C6D2-48EF-9BDB-ABE0765E18C0}" srcId="{6E4010DA-8017-4661-AA61-807FC8D804C6}" destId="{10DAB713-8B10-4B80-95BD-CEA7AEF927F7}" srcOrd="0" destOrd="0" parTransId="{059F4DC9-8390-4693-BDD9-5847279B67AA}" sibTransId="{B816D6D6-A176-4D12-991D-A6601EB8C34A}"/>
    <dgm:cxn modelId="{110C2B7C-27D3-4025-9380-4327F93DEB63}" type="presOf" srcId="{7F0F5EC4-FEDC-4AB8-9FB7-29A572F542D3}" destId="{FBDB07B0-FBBD-496E-A9E5-927188278EBB}" srcOrd="0" destOrd="0" presId="urn:microsoft.com/office/officeart/2005/8/layout/vList5"/>
    <dgm:cxn modelId="{B72AA73D-AA5A-4F89-8ABA-504C411DD66C}" srcId="{4B973809-553E-4674-870F-E76481CC54C6}" destId="{FA9EDA1F-1E4C-49E2-8AC0-3DECEDD012C3}" srcOrd="0" destOrd="0" parTransId="{8AA5FD29-86E0-495A-A37D-91C268180CD7}" sibTransId="{0FF29250-9F33-4D6E-A0A3-96BBB6A44448}"/>
    <dgm:cxn modelId="{05CD9F58-D50C-426B-AE46-164C03854F84}" type="presOf" srcId="{0B299B7D-78A1-4CEB-853A-5B72053DBBDC}" destId="{1D36FD78-47EA-4B40-AE86-1843ADBD75B9}" srcOrd="0" destOrd="0" presId="urn:microsoft.com/office/officeart/2005/8/layout/vList5"/>
    <dgm:cxn modelId="{518C0C43-8975-411C-9F32-3856BAB94093}" srcId="{0B299B7D-78A1-4CEB-853A-5B72053DBBDC}" destId="{E762CEE0-E98D-4BD4-8AE1-A0F0424B7504}" srcOrd="0" destOrd="0" parTransId="{ADABD72F-B607-4ACD-B1BD-77499CF665C9}" sibTransId="{BB33A377-9F8F-48D3-84A5-CACA28F0D287}"/>
    <dgm:cxn modelId="{7990BA37-9D25-465F-8E8C-A38AFF16AAB1}" srcId="{46AE4904-092F-4D65-B16F-82B2FD90D48A}" destId="{4B973809-553E-4674-870F-E76481CC54C6}" srcOrd="4" destOrd="0" parTransId="{EEB929F1-61FD-45B0-8448-8ECA0FF278FF}" sibTransId="{6B0CDFED-CA20-486F-9819-8CF4EAA60579}"/>
    <dgm:cxn modelId="{ECA400BB-64EF-4935-A70F-AA88DFE9D408}" type="presOf" srcId="{E762CEE0-E98D-4BD4-8AE1-A0F0424B7504}" destId="{06BEB48E-E675-49CB-8E1C-14B6A89B71C1}" srcOrd="0" destOrd="0" presId="urn:microsoft.com/office/officeart/2005/8/layout/vList5"/>
    <dgm:cxn modelId="{9698D946-1B82-429D-BC32-47B6988E16BE}" srcId="{46AE4904-092F-4D65-B16F-82B2FD90D48A}" destId="{7F0F5EC4-FEDC-4AB8-9FB7-29A572F542D3}" srcOrd="1" destOrd="0" parTransId="{81E180A7-5957-4077-9C17-9412D3010D65}" sibTransId="{37F6706B-9FBC-4D3C-9845-CB0D3DBDAC59}"/>
    <dgm:cxn modelId="{6EE05FB3-0B68-4952-9252-A970B77BC5F6}" srcId="{46AE4904-092F-4D65-B16F-82B2FD90D48A}" destId="{E8E8B154-5134-4F4A-8854-44CC25EF126D}" srcOrd="0" destOrd="0" parTransId="{9CC249EF-7FA4-4AF6-88AC-D38041626DE0}" sibTransId="{62DE970C-348F-4C6E-8995-9CD7B7434B8B}"/>
    <dgm:cxn modelId="{7C0C0CA5-7E1B-49AB-BDB0-37588C36C9CC}" type="presOf" srcId="{46AE4904-092F-4D65-B16F-82B2FD90D48A}" destId="{B6BACC0C-C655-45C9-8613-E6170C889BA7}" srcOrd="0" destOrd="0" presId="urn:microsoft.com/office/officeart/2005/8/layout/vList5"/>
    <dgm:cxn modelId="{5C128A88-1331-4CA6-81CC-ED66AE58F55F}" srcId="{46AE4904-092F-4D65-B16F-82B2FD90D48A}" destId="{0B299B7D-78A1-4CEB-853A-5B72053DBBDC}" srcOrd="2" destOrd="0" parTransId="{3668A76E-98B8-47A0-BB45-8EF5058E1C15}" sibTransId="{9AF869E0-2F6E-46A1-B09C-FBD8D7571784}"/>
    <dgm:cxn modelId="{53BC89C2-FCE2-47EA-A79B-3E96BF8B8B3F}" type="presOf" srcId="{29C7A33B-DD01-469A-A423-BF6065BDA36E}" destId="{6665B03E-034D-4EAF-9511-0A588EBE0483}" srcOrd="0" destOrd="0" presId="urn:microsoft.com/office/officeart/2005/8/layout/vList5"/>
    <dgm:cxn modelId="{79E5EE39-F2E2-454B-B218-2F4EAF543137}" type="presOf" srcId="{31224F43-9144-4C3C-8714-F09EEB309634}" destId="{121DBBFD-6721-41A4-8CC8-3912B59079FD}" srcOrd="0" destOrd="0" presId="urn:microsoft.com/office/officeart/2005/8/layout/vList5"/>
    <dgm:cxn modelId="{B81929EF-7424-479C-B6ED-79DFDD3A8A7C}" type="presOf" srcId="{6E4010DA-8017-4661-AA61-807FC8D804C6}" destId="{748519A5-5BFB-419C-9FB2-E4A86AF0DF05}" srcOrd="0" destOrd="0" presId="urn:microsoft.com/office/officeart/2005/8/layout/vList5"/>
    <dgm:cxn modelId="{39389D79-3EB8-4B07-B15A-2F22CA305C9B}" type="presOf" srcId="{E8E8B154-5134-4F4A-8854-44CC25EF126D}" destId="{F48902FA-BC27-46C8-9CDA-8C0772C14EDC}" srcOrd="0" destOrd="0" presId="urn:microsoft.com/office/officeart/2005/8/layout/vList5"/>
    <dgm:cxn modelId="{80B3F09F-FED9-4C89-937C-C8C946F0EBF7}" type="presOf" srcId="{10DAB713-8B10-4B80-95BD-CEA7AEF927F7}" destId="{540E47FD-1462-48F9-A898-55E6067C5323}" srcOrd="0" destOrd="0" presId="urn:microsoft.com/office/officeart/2005/8/layout/vList5"/>
    <dgm:cxn modelId="{97E552D8-D98F-4883-85CA-2424B0D5F120}" type="presOf" srcId="{D00504CE-D5C8-434D-9DF5-A8DCD1CEEEE4}" destId="{4281C372-CEB7-434E-8C4C-3657416CCCF4}" srcOrd="0" destOrd="0" presId="urn:microsoft.com/office/officeart/2005/8/layout/vList5"/>
    <dgm:cxn modelId="{7DC5B606-FD74-4F62-BA96-28FD6D038470}" type="presOf" srcId="{FA9EDA1F-1E4C-49E2-8AC0-3DECEDD012C3}" destId="{C10FA0B2-85E4-4F87-9733-432A7987095B}" srcOrd="0" destOrd="0" presId="urn:microsoft.com/office/officeart/2005/8/layout/vList5"/>
    <dgm:cxn modelId="{11B9B8BF-B73A-4AE2-8C6E-46AE8D216ECB}" srcId="{A08986E1-42DE-40CA-A807-0009DCC90EF7}" destId="{D00504CE-D5C8-434D-9DF5-A8DCD1CEEEE4}" srcOrd="0" destOrd="0" parTransId="{1AE28733-93E9-45AC-B2BE-E2B8C088B9E4}" sibTransId="{CF200460-3BD8-48B2-A29A-7350D33E1794}"/>
    <dgm:cxn modelId="{11D628BF-8411-4AD5-A4C4-EB3794AE2206}" srcId="{46AE4904-092F-4D65-B16F-82B2FD90D48A}" destId="{6E4010DA-8017-4661-AA61-807FC8D804C6}" srcOrd="5" destOrd="0" parTransId="{85AEBBBB-627C-4D00-BD9C-67ACC3035277}" sibTransId="{E2E9C1C9-047D-4D0D-8B17-6E84F043B519}"/>
    <dgm:cxn modelId="{19F96A80-2413-4DAF-8D13-F5AAB8BD1154}" type="presOf" srcId="{4B973809-553E-4674-870F-E76481CC54C6}" destId="{2EC09480-EEAD-4C4D-9A46-74797FF28326}" srcOrd="0" destOrd="0" presId="urn:microsoft.com/office/officeart/2005/8/layout/vList5"/>
    <dgm:cxn modelId="{72ED4D56-CAA2-4A7C-927E-2F51BB79DEA0}" srcId="{7F0F5EC4-FEDC-4AB8-9FB7-29A572F542D3}" destId="{31224F43-9144-4C3C-8714-F09EEB309634}" srcOrd="0" destOrd="0" parTransId="{56B37187-975D-42D4-B3A1-5703A691454C}" sibTransId="{5B884252-9960-4564-A2D6-504DEB42812D}"/>
    <dgm:cxn modelId="{DB4F9D83-A46C-4197-8EB6-2A177FC4E1B3}" type="presParOf" srcId="{B6BACC0C-C655-45C9-8613-E6170C889BA7}" destId="{0ED2953E-DB33-4B14-AB81-D0031830E1A4}" srcOrd="0" destOrd="0" presId="urn:microsoft.com/office/officeart/2005/8/layout/vList5"/>
    <dgm:cxn modelId="{10A0FE54-0901-4699-8FA0-EE0B13658560}" type="presParOf" srcId="{0ED2953E-DB33-4B14-AB81-D0031830E1A4}" destId="{F48902FA-BC27-46C8-9CDA-8C0772C14EDC}" srcOrd="0" destOrd="0" presId="urn:microsoft.com/office/officeart/2005/8/layout/vList5"/>
    <dgm:cxn modelId="{64EB614E-9B40-427B-9CEE-C0AB8851696C}" type="presParOf" srcId="{0ED2953E-DB33-4B14-AB81-D0031830E1A4}" destId="{6665B03E-034D-4EAF-9511-0A588EBE0483}" srcOrd="1" destOrd="0" presId="urn:microsoft.com/office/officeart/2005/8/layout/vList5"/>
    <dgm:cxn modelId="{EA3B590A-E8DE-460A-A0CA-30760861059E}" type="presParOf" srcId="{B6BACC0C-C655-45C9-8613-E6170C889BA7}" destId="{D801E54A-2967-4164-9147-7883B9A4F37B}" srcOrd="1" destOrd="0" presId="urn:microsoft.com/office/officeart/2005/8/layout/vList5"/>
    <dgm:cxn modelId="{5CE9DD53-3F63-488E-B337-438EEFBAD737}" type="presParOf" srcId="{B6BACC0C-C655-45C9-8613-E6170C889BA7}" destId="{86FB5E32-9CFD-4C62-80DF-AD9E2A46A8CA}" srcOrd="2" destOrd="0" presId="urn:microsoft.com/office/officeart/2005/8/layout/vList5"/>
    <dgm:cxn modelId="{D481F4EA-6487-4B1E-9564-E676CE05C297}" type="presParOf" srcId="{86FB5E32-9CFD-4C62-80DF-AD9E2A46A8CA}" destId="{FBDB07B0-FBBD-496E-A9E5-927188278EBB}" srcOrd="0" destOrd="0" presId="urn:microsoft.com/office/officeart/2005/8/layout/vList5"/>
    <dgm:cxn modelId="{BE2092AC-13F4-4B1D-AD61-3972952C45DC}" type="presParOf" srcId="{86FB5E32-9CFD-4C62-80DF-AD9E2A46A8CA}" destId="{121DBBFD-6721-41A4-8CC8-3912B59079FD}" srcOrd="1" destOrd="0" presId="urn:microsoft.com/office/officeart/2005/8/layout/vList5"/>
    <dgm:cxn modelId="{F66D994B-0ECB-4911-AEE4-DE98969763A7}" type="presParOf" srcId="{B6BACC0C-C655-45C9-8613-E6170C889BA7}" destId="{5A235E7B-3EC9-4D32-A94A-3657516E88CA}" srcOrd="3" destOrd="0" presId="urn:microsoft.com/office/officeart/2005/8/layout/vList5"/>
    <dgm:cxn modelId="{203E24BE-1274-4175-84C4-50E6004E210C}" type="presParOf" srcId="{B6BACC0C-C655-45C9-8613-E6170C889BA7}" destId="{899FB402-105C-48E0-BA08-1F434783A1F6}" srcOrd="4" destOrd="0" presId="urn:microsoft.com/office/officeart/2005/8/layout/vList5"/>
    <dgm:cxn modelId="{4F4954BB-3F0E-41DA-B646-B4A471F178B5}" type="presParOf" srcId="{899FB402-105C-48E0-BA08-1F434783A1F6}" destId="{1D36FD78-47EA-4B40-AE86-1843ADBD75B9}" srcOrd="0" destOrd="0" presId="urn:microsoft.com/office/officeart/2005/8/layout/vList5"/>
    <dgm:cxn modelId="{979FA206-E72E-46B8-A31A-08BF51332F46}" type="presParOf" srcId="{899FB402-105C-48E0-BA08-1F434783A1F6}" destId="{06BEB48E-E675-49CB-8E1C-14B6A89B71C1}" srcOrd="1" destOrd="0" presId="urn:microsoft.com/office/officeart/2005/8/layout/vList5"/>
    <dgm:cxn modelId="{052371A4-B6B4-4114-87B1-BE0377CC8EE3}" type="presParOf" srcId="{B6BACC0C-C655-45C9-8613-E6170C889BA7}" destId="{7CC75076-6B28-4D79-82CF-064A072E55AB}" srcOrd="5" destOrd="0" presId="urn:microsoft.com/office/officeart/2005/8/layout/vList5"/>
    <dgm:cxn modelId="{37C1B9CD-C276-4687-B498-69C615C0DC87}" type="presParOf" srcId="{B6BACC0C-C655-45C9-8613-E6170C889BA7}" destId="{C8F04175-1E37-40E5-B6EF-C3B90B663621}" srcOrd="6" destOrd="0" presId="urn:microsoft.com/office/officeart/2005/8/layout/vList5"/>
    <dgm:cxn modelId="{4E184011-011F-49E3-A34B-6CDB12FFBC23}" type="presParOf" srcId="{C8F04175-1E37-40E5-B6EF-C3B90B663621}" destId="{AC19E11A-B6D2-4DC8-929D-F55418C7C246}" srcOrd="0" destOrd="0" presId="urn:microsoft.com/office/officeart/2005/8/layout/vList5"/>
    <dgm:cxn modelId="{F9F105B3-A266-497D-8A63-3A4C00C72929}" type="presParOf" srcId="{C8F04175-1E37-40E5-B6EF-C3B90B663621}" destId="{4281C372-CEB7-434E-8C4C-3657416CCCF4}" srcOrd="1" destOrd="0" presId="urn:microsoft.com/office/officeart/2005/8/layout/vList5"/>
    <dgm:cxn modelId="{51B6E56A-F480-462D-AFC4-955145B66C5C}" type="presParOf" srcId="{B6BACC0C-C655-45C9-8613-E6170C889BA7}" destId="{4F43E8D1-50B4-4C74-A3BD-885D2C015F0E}" srcOrd="7" destOrd="0" presId="urn:microsoft.com/office/officeart/2005/8/layout/vList5"/>
    <dgm:cxn modelId="{458CFCE0-718E-4C0D-9E65-2E6A1223E13E}" type="presParOf" srcId="{B6BACC0C-C655-45C9-8613-E6170C889BA7}" destId="{69832E25-1747-4A6C-9CA6-2354CD336DC1}" srcOrd="8" destOrd="0" presId="urn:microsoft.com/office/officeart/2005/8/layout/vList5"/>
    <dgm:cxn modelId="{D453AB6B-ECF1-43C0-BCA6-CF5AADCBA816}" type="presParOf" srcId="{69832E25-1747-4A6C-9CA6-2354CD336DC1}" destId="{2EC09480-EEAD-4C4D-9A46-74797FF28326}" srcOrd="0" destOrd="0" presId="urn:microsoft.com/office/officeart/2005/8/layout/vList5"/>
    <dgm:cxn modelId="{ED7A0769-EAC0-4067-84F5-3B72265DDFA8}" type="presParOf" srcId="{69832E25-1747-4A6C-9CA6-2354CD336DC1}" destId="{C10FA0B2-85E4-4F87-9733-432A7987095B}" srcOrd="1" destOrd="0" presId="urn:microsoft.com/office/officeart/2005/8/layout/vList5"/>
    <dgm:cxn modelId="{3D5E09AC-8E3E-48B5-A42C-59DAC3E3E9F8}" type="presParOf" srcId="{B6BACC0C-C655-45C9-8613-E6170C889BA7}" destId="{8B3C3411-E7CF-4F5E-A6B2-7781B3814C0D}" srcOrd="9" destOrd="0" presId="urn:microsoft.com/office/officeart/2005/8/layout/vList5"/>
    <dgm:cxn modelId="{B343A823-B103-44BF-9372-E40A223CCB68}" type="presParOf" srcId="{B6BACC0C-C655-45C9-8613-E6170C889BA7}" destId="{51534471-2BC7-42BD-B754-FECA7D08EC1E}" srcOrd="10" destOrd="0" presId="urn:microsoft.com/office/officeart/2005/8/layout/vList5"/>
    <dgm:cxn modelId="{A94F25EA-CD8C-4B4E-8DD5-9131E4E31770}" type="presParOf" srcId="{51534471-2BC7-42BD-B754-FECA7D08EC1E}" destId="{748519A5-5BFB-419C-9FB2-E4A86AF0DF05}" srcOrd="0" destOrd="0" presId="urn:microsoft.com/office/officeart/2005/8/layout/vList5"/>
    <dgm:cxn modelId="{FB6A3C25-5464-4D2A-ACED-7F9065D20E5F}" type="presParOf" srcId="{51534471-2BC7-42BD-B754-FECA7D08EC1E}" destId="{540E47FD-1462-48F9-A898-55E6067C5323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665B03E-034D-4EAF-9511-0A588EBE0483}">
      <dsp:nvSpPr>
        <dsp:cNvPr id="0" name=""/>
        <dsp:cNvSpPr/>
      </dsp:nvSpPr>
      <dsp:spPr>
        <a:xfrm rot="5400000">
          <a:off x="3090908" y="-1200692"/>
          <a:ext cx="904009" cy="3334506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b="1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Максимальный объем перевозки грузов </a:t>
          </a:r>
          <a:endParaRPr lang="ru-RU" sz="1100" b="1" kern="1200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sp:txBody>
      <dsp:txXfrm rot="-5400000">
        <a:off x="1875660" y="58686"/>
        <a:ext cx="3290376" cy="815749"/>
      </dsp:txXfrm>
    </dsp:sp>
    <dsp:sp modelId="{F48902FA-BC27-46C8-9CDA-8C0772C14EDC}">
      <dsp:nvSpPr>
        <dsp:cNvPr id="0" name=""/>
        <dsp:cNvSpPr/>
      </dsp:nvSpPr>
      <dsp:spPr>
        <a:xfrm>
          <a:off x="0" y="1597"/>
          <a:ext cx="1875660" cy="929928"/>
        </a:xfrm>
        <a:prstGeom prst="roundRect">
          <a:avLst/>
        </a:prstGeom>
        <a:solidFill>
          <a:schemeClr val="accent2">
            <a:lumMod val="9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7150" tIns="28575" rIns="57150" bIns="2857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lang="ru-RU" sz="1500" b="1" i="0" kern="1200" dirty="0" smtClean="0"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3,8 млн. тн </a:t>
          </a:r>
          <a:endParaRPr lang="ru-RU" sz="1500" b="1" kern="1200" dirty="0">
            <a:solidFill>
              <a:schemeClr val="tx1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sp:txBody>
      <dsp:txXfrm>
        <a:off x="45395" y="46992"/>
        <a:ext cx="1784870" cy="839138"/>
      </dsp:txXfrm>
    </dsp:sp>
    <dsp:sp modelId="{121DBBFD-6721-41A4-8CC8-3912B59079FD}">
      <dsp:nvSpPr>
        <dsp:cNvPr id="0" name=""/>
        <dsp:cNvSpPr/>
      </dsp:nvSpPr>
      <dsp:spPr>
        <a:xfrm rot="5400000">
          <a:off x="3090908" y="-224267"/>
          <a:ext cx="904009" cy="3334506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b="1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Объем единовременной загрузки сухогрузных судов</a:t>
          </a:r>
          <a:endParaRPr lang="ru-RU" sz="1100" b="1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 rot="-5400000">
        <a:off x="1875660" y="1035111"/>
        <a:ext cx="3290376" cy="815749"/>
      </dsp:txXfrm>
    </dsp:sp>
    <dsp:sp modelId="{FBDB07B0-FBBD-496E-A9E5-927188278EBB}">
      <dsp:nvSpPr>
        <dsp:cNvPr id="0" name=""/>
        <dsp:cNvSpPr/>
      </dsp:nvSpPr>
      <dsp:spPr>
        <a:xfrm>
          <a:off x="0" y="978021"/>
          <a:ext cx="1875660" cy="929928"/>
        </a:xfrm>
        <a:prstGeom prst="roundRect">
          <a:avLst/>
        </a:prstGeom>
        <a:solidFill>
          <a:schemeClr val="accent2">
            <a:lumMod val="9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7150" tIns="28575" rIns="57150" bIns="2857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1" kern="1200" dirty="0" smtClean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rPr>
            <a:t>413 тыс. тн</a:t>
          </a:r>
          <a:endParaRPr lang="ru-RU" sz="1500" b="1" kern="1200" dirty="0">
            <a:solidFill>
              <a:schemeClr val="tx1"/>
            </a:solidFill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45395" y="1023416"/>
        <a:ext cx="1784870" cy="839138"/>
      </dsp:txXfrm>
    </dsp:sp>
    <dsp:sp modelId="{06BEB48E-E675-49CB-8E1C-14B6A89B71C1}">
      <dsp:nvSpPr>
        <dsp:cNvPr id="0" name=""/>
        <dsp:cNvSpPr/>
      </dsp:nvSpPr>
      <dsp:spPr>
        <a:xfrm rot="5400000">
          <a:off x="3090908" y="752157"/>
          <a:ext cx="904009" cy="3334506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b="1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Объем единовременной загрузки нефтеналивных судов </a:t>
          </a:r>
          <a:endParaRPr lang="ru-RU" sz="1100" b="1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 rot="-5400000">
        <a:off x="1875660" y="2011535"/>
        <a:ext cx="3290376" cy="815749"/>
      </dsp:txXfrm>
    </dsp:sp>
    <dsp:sp modelId="{1D36FD78-47EA-4B40-AE86-1843ADBD75B9}">
      <dsp:nvSpPr>
        <dsp:cNvPr id="0" name=""/>
        <dsp:cNvSpPr/>
      </dsp:nvSpPr>
      <dsp:spPr>
        <a:xfrm>
          <a:off x="0" y="1954446"/>
          <a:ext cx="1875660" cy="929928"/>
        </a:xfrm>
        <a:prstGeom prst="roundRect">
          <a:avLst/>
        </a:prstGeom>
        <a:solidFill>
          <a:schemeClr val="accent2">
            <a:lumMod val="9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7150" tIns="28575" rIns="57150" bIns="2857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1" kern="1200" dirty="0" smtClean="0"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78 тыс. тн </a:t>
          </a:r>
          <a:endParaRPr lang="ru-RU" sz="1500" b="1" kern="1200" dirty="0">
            <a:solidFill>
              <a:schemeClr val="tx1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sp:txBody>
      <dsp:txXfrm>
        <a:off x="45395" y="1999841"/>
        <a:ext cx="1784870" cy="839138"/>
      </dsp:txXfrm>
    </dsp:sp>
    <dsp:sp modelId="{4281C372-CEB7-434E-8C4C-3657416CCCF4}">
      <dsp:nvSpPr>
        <dsp:cNvPr id="0" name=""/>
        <dsp:cNvSpPr/>
      </dsp:nvSpPr>
      <dsp:spPr>
        <a:xfrm rot="5400000">
          <a:off x="3090908" y="1728581"/>
          <a:ext cx="904009" cy="3334506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b="1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Флота: самоходный, нефтеналивной,  плавкраны, вспомогательный </a:t>
          </a:r>
          <a:endParaRPr lang="ru-RU" sz="1100" b="1" kern="1200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sp:txBody>
      <dsp:txXfrm rot="-5400000">
        <a:off x="1875660" y="2987959"/>
        <a:ext cx="3290376" cy="815749"/>
      </dsp:txXfrm>
    </dsp:sp>
    <dsp:sp modelId="{AC19E11A-B6D2-4DC8-929D-F55418C7C246}">
      <dsp:nvSpPr>
        <dsp:cNvPr id="0" name=""/>
        <dsp:cNvSpPr/>
      </dsp:nvSpPr>
      <dsp:spPr>
        <a:xfrm>
          <a:off x="0" y="2930871"/>
          <a:ext cx="1875660" cy="929928"/>
        </a:xfrm>
        <a:prstGeom prst="roundRect">
          <a:avLst/>
        </a:prstGeom>
        <a:solidFill>
          <a:schemeClr val="accent2">
            <a:lumMod val="9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7150" tIns="28575" rIns="57150" bIns="2857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1" kern="1200" dirty="0" smtClean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rPr>
            <a:t>400 единиц</a:t>
          </a:r>
          <a:endParaRPr lang="ru-RU" sz="1500" b="1" kern="1200" dirty="0">
            <a:solidFill>
              <a:schemeClr val="tx1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sp:txBody>
      <dsp:txXfrm>
        <a:off x="45395" y="2976266"/>
        <a:ext cx="1784870" cy="839138"/>
      </dsp:txXfrm>
    </dsp:sp>
    <dsp:sp modelId="{C10FA0B2-85E4-4F87-9733-432A7987095B}">
      <dsp:nvSpPr>
        <dsp:cNvPr id="0" name=""/>
        <dsp:cNvSpPr/>
      </dsp:nvSpPr>
      <dsp:spPr>
        <a:xfrm rot="5400000">
          <a:off x="3090908" y="2705006"/>
          <a:ext cx="904009" cy="3334506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b="1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Доставки грузов на р. Енисей и его притоках (р. Ангара, Н. Тунгуска, П. Тунгуска, Б. Хета), Енисейский залив</a:t>
          </a:r>
          <a:endParaRPr lang="ru-RU" sz="1100" b="1" kern="1200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sp:txBody>
      <dsp:txXfrm rot="-5400000">
        <a:off x="1875660" y="3964384"/>
        <a:ext cx="3290376" cy="815749"/>
      </dsp:txXfrm>
    </dsp:sp>
    <dsp:sp modelId="{2EC09480-EEAD-4C4D-9A46-74797FF28326}">
      <dsp:nvSpPr>
        <dsp:cNvPr id="0" name=""/>
        <dsp:cNvSpPr/>
      </dsp:nvSpPr>
      <dsp:spPr>
        <a:xfrm>
          <a:off x="0" y="3907295"/>
          <a:ext cx="1875660" cy="929928"/>
        </a:xfrm>
        <a:prstGeom prst="roundRect">
          <a:avLst/>
        </a:prstGeom>
        <a:solidFill>
          <a:schemeClr val="accent2">
            <a:lumMod val="9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7150" tIns="28575" rIns="57150" bIns="2857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1" kern="1200" dirty="0" smtClean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86 населенных пунктов</a:t>
          </a:r>
          <a:endParaRPr lang="ru-RU" sz="1500" b="1" kern="1200" dirty="0">
            <a:solidFill>
              <a:schemeClr val="tx1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sp:txBody>
      <dsp:txXfrm>
        <a:off x="45395" y="3952690"/>
        <a:ext cx="1784870" cy="839138"/>
      </dsp:txXfrm>
    </dsp:sp>
    <dsp:sp modelId="{540E47FD-1462-48F9-A898-55E6067C5323}">
      <dsp:nvSpPr>
        <dsp:cNvPr id="0" name=""/>
        <dsp:cNvSpPr/>
      </dsp:nvSpPr>
      <dsp:spPr>
        <a:xfrm rot="5400000">
          <a:off x="3090908" y="3681431"/>
          <a:ext cx="904009" cy="3334506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b="1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Красноярск,  </a:t>
          </a:r>
          <a:endParaRPr lang="ru-RU" sz="1100" b="1" kern="1200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b="1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Ермолаево,</a:t>
          </a:r>
          <a:endParaRPr lang="ru-RU" sz="1100" b="1" kern="1200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b="1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Подтесово</a:t>
          </a:r>
          <a:endParaRPr lang="ru-RU" sz="1100" b="1" kern="1200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b="1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 Затоны оснащённые для зимнего отстоя флота</a:t>
          </a:r>
          <a:endParaRPr lang="ru-RU" sz="1100" b="1" kern="1200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sp:txBody>
      <dsp:txXfrm rot="-5400000">
        <a:off x="1875660" y="4940809"/>
        <a:ext cx="3290376" cy="815749"/>
      </dsp:txXfrm>
    </dsp:sp>
    <dsp:sp modelId="{748519A5-5BFB-419C-9FB2-E4A86AF0DF05}">
      <dsp:nvSpPr>
        <dsp:cNvPr id="0" name=""/>
        <dsp:cNvSpPr/>
      </dsp:nvSpPr>
      <dsp:spPr>
        <a:xfrm>
          <a:off x="0" y="4883720"/>
          <a:ext cx="1875660" cy="929928"/>
        </a:xfrm>
        <a:prstGeom prst="roundRect">
          <a:avLst/>
        </a:prstGeom>
        <a:solidFill>
          <a:schemeClr val="accent2">
            <a:lumMod val="9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7150" tIns="28575" rIns="57150" bIns="2857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1" kern="1200" dirty="0" smtClean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rPr>
            <a:t>3 ремонтных базы флота</a:t>
          </a:r>
          <a:endParaRPr lang="ru-RU" sz="1500" b="1" kern="1200" dirty="0">
            <a:solidFill>
              <a:schemeClr val="tx1"/>
            </a:solidFill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45395" y="4929115"/>
        <a:ext cx="1784870" cy="83913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665B03E-034D-4EAF-9511-0A588EBE0483}">
      <dsp:nvSpPr>
        <dsp:cNvPr id="0" name=""/>
        <dsp:cNvSpPr/>
      </dsp:nvSpPr>
      <dsp:spPr>
        <a:xfrm rot="5400000">
          <a:off x="3090908" y="-1200692"/>
          <a:ext cx="904009" cy="3334506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b="1" kern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Пропускная способность</a:t>
          </a:r>
        </a:p>
      </dsp:txBody>
      <dsp:txXfrm rot="-5400000">
        <a:off x="1875660" y="58686"/>
        <a:ext cx="3290376" cy="815749"/>
      </dsp:txXfrm>
    </dsp:sp>
    <dsp:sp modelId="{F48902FA-BC27-46C8-9CDA-8C0772C14EDC}">
      <dsp:nvSpPr>
        <dsp:cNvPr id="0" name=""/>
        <dsp:cNvSpPr/>
      </dsp:nvSpPr>
      <dsp:spPr>
        <a:xfrm>
          <a:off x="0" y="1597"/>
          <a:ext cx="1875660" cy="929928"/>
        </a:xfrm>
        <a:prstGeom prst="roundRect">
          <a:avLst/>
        </a:prstGeom>
        <a:solidFill>
          <a:schemeClr val="accent2">
            <a:lumMod val="9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7150" tIns="28575" rIns="57150" bIns="2857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lang="ru-RU" sz="1500" b="1" i="0" kern="1200" dirty="0" smtClean="0"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2,0 </a:t>
          </a:r>
          <a:r>
            <a:rPr lang="ru-RU" sz="1500" b="1" i="0" kern="1200" dirty="0" smtClean="0"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млн</a:t>
          </a:r>
          <a:r>
            <a:rPr lang="ru-RU" sz="1500" b="1" i="0" kern="1200" dirty="0"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. тн в год</a:t>
          </a:r>
          <a:endParaRPr lang="ru-RU" sz="1500" b="1" kern="1200" dirty="0">
            <a:solidFill>
              <a:schemeClr val="tx1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sp:txBody>
      <dsp:txXfrm>
        <a:off x="45395" y="46992"/>
        <a:ext cx="1784870" cy="839138"/>
      </dsp:txXfrm>
    </dsp:sp>
    <dsp:sp modelId="{121DBBFD-6721-41A4-8CC8-3912B59079FD}">
      <dsp:nvSpPr>
        <dsp:cNvPr id="0" name=""/>
        <dsp:cNvSpPr/>
      </dsp:nvSpPr>
      <dsp:spPr>
        <a:xfrm rot="5400000">
          <a:off x="3090908" y="-224267"/>
          <a:ext cx="904009" cy="3334506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b="1" kern="1200" dirty="0">
              <a:latin typeface="Tahoma" pitchFamily="34" charset="0"/>
              <a:ea typeface="Tahoma" pitchFamily="34" charset="0"/>
              <a:cs typeface="Tahoma" pitchFamily="34" charset="0"/>
            </a:rPr>
            <a:t>Максимальный объем единовременного хранения </a:t>
          </a:r>
        </a:p>
      </dsp:txBody>
      <dsp:txXfrm rot="-5400000">
        <a:off x="1875660" y="1035111"/>
        <a:ext cx="3290376" cy="815749"/>
      </dsp:txXfrm>
    </dsp:sp>
    <dsp:sp modelId="{FBDB07B0-FBBD-496E-A9E5-927188278EBB}">
      <dsp:nvSpPr>
        <dsp:cNvPr id="0" name=""/>
        <dsp:cNvSpPr/>
      </dsp:nvSpPr>
      <dsp:spPr>
        <a:xfrm>
          <a:off x="0" y="978021"/>
          <a:ext cx="1875660" cy="929928"/>
        </a:xfrm>
        <a:prstGeom prst="roundRect">
          <a:avLst/>
        </a:prstGeom>
        <a:solidFill>
          <a:schemeClr val="accent2">
            <a:lumMod val="9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7150" tIns="28575" rIns="57150" bIns="2857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1" kern="1200" dirty="0" smtClean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rPr>
            <a:t>600 тыс</a:t>
          </a:r>
          <a:r>
            <a:rPr lang="ru-RU" sz="1500" b="1" kern="1200" dirty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rPr>
            <a:t>. тн</a:t>
          </a:r>
        </a:p>
      </dsp:txBody>
      <dsp:txXfrm>
        <a:off x="45395" y="1023416"/>
        <a:ext cx="1784870" cy="839138"/>
      </dsp:txXfrm>
    </dsp:sp>
    <dsp:sp modelId="{06BEB48E-E675-49CB-8E1C-14B6A89B71C1}">
      <dsp:nvSpPr>
        <dsp:cNvPr id="0" name=""/>
        <dsp:cNvSpPr/>
      </dsp:nvSpPr>
      <dsp:spPr>
        <a:xfrm rot="5400000">
          <a:off x="3090908" y="752157"/>
          <a:ext cx="904009" cy="3334506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b="1" kern="1200" dirty="0">
              <a:latin typeface="Tahoma" pitchFamily="34" charset="0"/>
              <a:ea typeface="Tahoma" pitchFamily="34" charset="0"/>
              <a:cs typeface="Tahoma" pitchFamily="34" charset="0"/>
            </a:rPr>
            <a:t>Портальных кранов </a:t>
          </a:r>
          <a:r>
            <a:rPr lang="ru-RU" sz="1100" b="1" kern="1200" dirty="0">
              <a:effectLst/>
              <a:latin typeface="Tahoma" pitchFamily="34" charset="0"/>
              <a:ea typeface="Tahoma" pitchFamily="34" charset="0"/>
              <a:cs typeface="Tahoma" pitchFamily="34" charset="0"/>
            </a:rPr>
            <a:t>грузоподъемностью от 5 до 40 тн и причальный мостовой кран грузоподъемностью 200 тн</a:t>
          </a:r>
          <a:r>
            <a:rPr lang="en-US" sz="1100" b="1" kern="1200" dirty="0"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 </a:t>
          </a:r>
          <a:endParaRPr lang="ru-RU" sz="1100" b="1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 rot="-5400000">
        <a:off x="1875660" y="2011535"/>
        <a:ext cx="3290376" cy="815749"/>
      </dsp:txXfrm>
    </dsp:sp>
    <dsp:sp modelId="{1D36FD78-47EA-4B40-AE86-1843ADBD75B9}">
      <dsp:nvSpPr>
        <dsp:cNvPr id="0" name=""/>
        <dsp:cNvSpPr/>
      </dsp:nvSpPr>
      <dsp:spPr>
        <a:xfrm>
          <a:off x="0" y="1954446"/>
          <a:ext cx="1875660" cy="929928"/>
        </a:xfrm>
        <a:prstGeom prst="roundRect">
          <a:avLst/>
        </a:prstGeom>
        <a:solidFill>
          <a:schemeClr val="accent2">
            <a:lumMod val="9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7150" tIns="28575" rIns="57150" bIns="2857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1" kern="1200" dirty="0"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39 </a:t>
          </a:r>
          <a:r>
            <a:rPr lang="ru-RU" sz="1500" b="1" kern="1200" dirty="0" smtClean="0"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единиц </a:t>
          </a:r>
          <a:endParaRPr lang="ru-RU" sz="1500" b="1" kern="1200" dirty="0">
            <a:solidFill>
              <a:schemeClr val="tx1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sp:txBody>
      <dsp:txXfrm>
        <a:off x="45395" y="1999841"/>
        <a:ext cx="1784870" cy="839138"/>
      </dsp:txXfrm>
    </dsp:sp>
    <dsp:sp modelId="{4281C372-CEB7-434E-8C4C-3657416CCCF4}">
      <dsp:nvSpPr>
        <dsp:cNvPr id="0" name=""/>
        <dsp:cNvSpPr/>
      </dsp:nvSpPr>
      <dsp:spPr>
        <a:xfrm rot="5400000">
          <a:off x="3090908" y="1728581"/>
          <a:ext cx="904009" cy="3334506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b="1" kern="1200" dirty="0"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Автопогрузчиков грузоподъемностью от 1,5 до 45 тн</a:t>
          </a:r>
          <a:endParaRPr lang="ru-RU" sz="1100" b="1" kern="1200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sp:txBody>
      <dsp:txXfrm rot="-5400000">
        <a:off x="1875660" y="2987959"/>
        <a:ext cx="3290376" cy="815749"/>
      </dsp:txXfrm>
    </dsp:sp>
    <dsp:sp modelId="{AC19E11A-B6D2-4DC8-929D-F55418C7C246}">
      <dsp:nvSpPr>
        <dsp:cNvPr id="0" name=""/>
        <dsp:cNvSpPr/>
      </dsp:nvSpPr>
      <dsp:spPr>
        <a:xfrm>
          <a:off x="0" y="2930871"/>
          <a:ext cx="1875660" cy="929928"/>
        </a:xfrm>
        <a:prstGeom prst="roundRect">
          <a:avLst/>
        </a:prstGeom>
        <a:solidFill>
          <a:schemeClr val="accent2">
            <a:lumMod val="9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7150" tIns="28575" rIns="57150" bIns="2857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1" kern="1200" dirty="0" smtClean="0"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34 единицы</a:t>
          </a:r>
          <a:endParaRPr lang="ru-RU" sz="1500" b="1" kern="1200" dirty="0">
            <a:solidFill>
              <a:schemeClr val="tx1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sp:txBody>
      <dsp:txXfrm>
        <a:off x="45395" y="2976266"/>
        <a:ext cx="1784870" cy="839138"/>
      </dsp:txXfrm>
    </dsp:sp>
    <dsp:sp modelId="{C10FA0B2-85E4-4F87-9733-432A7987095B}">
      <dsp:nvSpPr>
        <dsp:cNvPr id="0" name=""/>
        <dsp:cNvSpPr/>
      </dsp:nvSpPr>
      <dsp:spPr>
        <a:xfrm rot="5400000">
          <a:off x="3090908" y="2705006"/>
          <a:ext cx="904009" cy="3334506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b="1" kern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Общей протяженностью 1 </a:t>
          </a:r>
          <a:r>
            <a:rPr lang="ru-RU" sz="1100" b="1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910 </a:t>
          </a:r>
          <a:r>
            <a:rPr lang="ru-RU" sz="1100" b="1" kern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м</a:t>
          </a:r>
        </a:p>
      </dsp:txBody>
      <dsp:txXfrm rot="-5400000">
        <a:off x="1875660" y="3964384"/>
        <a:ext cx="3290376" cy="815749"/>
      </dsp:txXfrm>
    </dsp:sp>
    <dsp:sp modelId="{2EC09480-EEAD-4C4D-9A46-74797FF28326}">
      <dsp:nvSpPr>
        <dsp:cNvPr id="0" name=""/>
        <dsp:cNvSpPr/>
      </dsp:nvSpPr>
      <dsp:spPr>
        <a:xfrm>
          <a:off x="0" y="3907295"/>
          <a:ext cx="1875660" cy="929928"/>
        </a:xfrm>
        <a:prstGeom prst="roundRect">
          <a:avLst/>
        </a:prstGeom>
        <a:solidFill>
          <a:schemeClr val="accent2">
            <a:lumMod val="9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7150" tIns="28575" rIns="57150" bIns="2857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1" kern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17 причалов</a:t>
          </a:r>
        </a:p>
      </dsp:txBody>
      <dsp:txXfrm>
        <a:off x="45395" y="3952690"/>
        <a:ext cx="1784870" cy="839138"/>
      </dsp:txXfrm>
    </dsp:sp>
    <dsp:sp modelId="{540E47FD-1462-48F9-A898-55E6067C5323}">
      <dsp:nvSpPr>
        <dsp:cNvPr id="0" name=""/>
        <dsp:cNvSpPr/>
      </dsp:nvSpPr>
      <dsp:spPr>
        <a:xfrm rot="5400000">
          <a:off x="3090908" y="3681431"/>
          <a:ext cx="904009" cy="3334506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b="1" kern="1200" dirty="0"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Выход на станции Злобино, Енисей и Красноярск-Северный Транссибирской железнодорожной магистрали</a:t>
          </a:r>
          <a:endParaRPr lang="ru-RU" sz="1100" b="1" kern="1200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sp:txBody>
      <dsp:txXfrm rot="-5400000">
        <a:off x="1875660" y="4940809"/>
        <a:ext cx="3290376" cy="815749"/>
      </dsp:txXfrm>
    </dsp:sp>
    <dsp:sp modelId="{748519A5-5BFB-419C-9FB2-E4A86AF0DF05}">
      <dsp:nvSpPr>
        <dsp:cNvPr id="0" name=""/>
        <dsp:cNvSpPr/>
      </dsp:nvSpPr>
      <dsp:spPr>
        <a:xfrm>
          <a:off x="0" y="4883720"/>
          <a:ext cx="1875660" cy="929928"/>
        </a:xfrm>
        <a:prstGeom prst="roundRect">
          <a:avLst/>
        </a:prstGeom>
        <a:solidFill>
          <a:schemeClr val="accent2">
            <a:lumMod val="9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7150" tIns="28575" rIns="57150" bIns="2857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1" kern="1200" dirty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rPr>
            <a:t>Связь с железной дорогой </a:t>
          </a:r>
        </a:p>
      </dsp:txBody>
      <dsp:txXfrm>
        <a:off x="45395" y="4929115"/>
        <a:ext cx="1784870" cy="83913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665B03E-034D-4EAF-9511-0A588EBE0483}">
      <dsp:nvSpPr>
        <dsp:cNvPr id="0" name=""/>
        <dsp:cNvSpPr/>
      </dsp:nvSpPr>
      <dsp:spPr>
        <a:xfrm rot="5400000">
          <a:off x="3090908" y="-1200692"/>
          <a:ext cx="904009" cy="3334506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b="1" kern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Пропускная способность</a:t>
          </a:r>
        </a:p>
      </dsp:txBody>
      <dsp:txXfrm rot="-5400000">
        <a:off x="1875660" y="58686"/>
        <a:ext cx="3290376" cy="815749"/>
      </dsp:txXfrm>
    </dsp:sp>
    <dsp:sp modelId="{F48902FA-BC27-46C8-9CDA-8C0772C14EDC}">
      <dsp:nvSpPr>
        <dsp:cNvPr id="0" name=""/>
        <dsp:cNvSpPr/>
      </dsp:nvSpPr>
      <dsp:spPr>
        <a:xfrm>
          <a:off x="0" y="1597"/>
          <a:ext cx="1875660" cy="929928"/>
        </a:xfrm>
        <a:prstGeom prst="roundRect">
          <a:avLst/>
        </a:prstGeom>
        <a:solidFill>
          <a:schemeClr val="accent2">
            <a:lumMod val="9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7150" tIns="28575" rIns="57150" bIns="2857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ClrTx/>
            <a:buSzTx/>
            <a:buFontTx/>
            <a:buNone/>
          </a:pPr>
          <a:r>
            <a:rPr lang="ru-RU" sz="1500" b="1" i="0" kern="1200" dirty="0" smtClean="0"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1,2 млн</a:t>
          </a:r>
          <a:r>
            <a:rPr lang="ru-RU" sz="1500" b="1" i="0" kern="1200" dirty="0"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. тн в год</a:t>
          </a:r>
          <a:endParaRPr lang="ru-RU" sz="1500" b="1" kern="1200" dirty="0">
            <a:solidFill>
              <a:schemeClr val="tx1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sp:txBody>
      <dsp:txXfrm>
        <a:off x="45395" y="46992"/>
        <a:ext cx="1784870" cy="839138"/>
      </dsp:txXfrm>
    </dsp:sp>
    <dsp:sp modelId="{121DBBFD-6721-41A4-8CC8-3912B59079FD}">
      <dsp:nvSpPr>
        <dsp:cNvPr id="0" name=""/>
        <dsp:cNvSpPr/>
      </dsp:nvSpPr>
      <dsp:spPr>
        <a:xfrm rot="5400000">
          <a:off x="3090908" y="-224267"/>
          <a:ext cx="904009" cy="3334506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b="1" kern="1200" dirty="0">
              <a:latin typeface="Tahoma" pitchFamily="34" charset="0"/>
              <a:ea typeface="Tahoma" pitchFamily="34" charset="0"/>
              <a:cs typeface="Tahoma" pitchFamily="34" charset="0"/>
            </a:rPr>
            <a:t>Максимальный объем единовременного хранения </a:t>
          </a:r>
        </a:p>
      </dsp:txBody>
      <dsp:txXfrm rot="-5400000">
        <a:off x="1875660" y="1035111"/>
        <a:ext cx="3290376" cy="815749"/>
      </dsp:txXfrm>
    </dsp:sp>
    <dsp:sp modelId="{FBDB07B0-FBBD-496E-A9E5-927188278EBB}">
      <dsp:nvSpPr>
        <dsp:cNvPr id="0" name=""/>
        <dsp:cNvSpPr/>
      </dsp:nvSpPr>
      <dsp:spPr>
        <a:xfrm>
          <a:off x="0" y="978021"/>
          <a:ext cx="1875660" cy="929928"/>
        </a:xfrm>
        <a:prstGeom prst="roundRect">
          <a:avLst/>
        </a:prstGeom>
        <a:solidFill>
          <a:schemeClr val="accent2">
            <a:lumMod val="9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7150" tIns="28575" rIns="57150" bIns="2857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1" kern="1200" dirty="0" smtClean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rPr>
            <a:t>500 тыс</a:t>
          </a:r>
          <a:r>
            <a:rPr lang="ru-RU" sz="1500" b="1" kern="1200" dirty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rPr>
            <a:t>. тн</a:t>
          </a:r>
        </a:p>
      </dsp:txBody>
      <dsp:txXfrm>
        <a:off x="45395" y="1023416"/>
        <a:ext cx="1784870" cy="839138"/>
      </dsp:txXfrm>
    </dsp:sp>
    <dsp:sp modelId="{06BEB48E-E675-49CB-8E1C-14B6A89B71C1}">
      <dsp:nvSpPr>
        <dsp:cNvPr id="0" name=""/>
        <dsp:cNvSpPr/>
      </dsp:nvSpPr>
      <dsp:spPr>
        <a:xfrm rot="5400000">
          <a:off x="3090908" y="752157"/>
          <a:ext cx="904009" cy="3334506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b="1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Портальных и козловых </a:t>
          </a:r>
          <a:r>
            <a:rPr lang="ru-RU" sz="1100" b="1" kern="1200" dirty="0">
              <a:latin typeface="Tahoma" pitchFamily="34" charset="0"/>
              <a:ea typeface="Tahoma" pitchFamily="34" charset="0"/>
              <a:cs typeface="Tahoma" pitchFamily="34" charset="0"/>
            </a:rPr>
            <a:t>кранов </a:t>
          </a:r>
          <a:r>
            <a:rPr lang="ru-RU" sz="1100" b="1" kern="1200" dirty="0">
              <a:effectLst/>
              <a:latin typeface="Tahoma" pitchFamily="34" charset="0"/>
              <a:ea typeface="Tahoma" pitchFamily="34" charset="0"/>
              <a:cs typeface="Tahoma" pitchFamily="34" charset="0"/>
            </a:rPr>
            <a:t>грузоподъемностью от 5 </a:t>
          </a:r>
          <a:r>
            <a:rPr lang="ru-RU" sz="1100" b="1" kern="1200" dirty="0" smtClean="0">
              <a:effectLst/>
              <a:latin typeface="Tahoma" pitchFamily="34" charset="0"/>
              <a:ea typeface="Tahoma" pitchFamily="34" charset="0"/>
              <a:cs typeface="Tahoma" pitchFamily="34" charset="0"/>
            </a:rPr>
            <a:t>до 32т.</a:t>
          </a:r>
          <a:endParaRPr lang="ru-RU" sz="1100" b="1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 rot="-5400000">
        <a:off x="1875660" y="2011535"/>
        <a:ext cx="3290376" cy="815749"/>
      </dsp:txXfrm>
    </dsp:sp>
    <dsp:sp modelId="{1D36FD78-47EA-4B40-AE86-1843ADBD75B9}">
      <dsp:nvSpPr>
        <dsp:cNvPr id="0" name=""/>
        <dsp:cNvSpPr/>
      </dsp:nvSpPr>
      <dsp:spPr>
        <a:xfrm>
          <a:off x="0" y="1954446"/>
          <a:ext cx="1875660" cy="929928"/>
        </a:xfrm>
        <a:prstGeom prst="roundRect">
          <a:avLst/>
        </a:prstGeom>
        <a:solidFill>
          <a:schemeClr val="accent2">
            <a:lumMod val="9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7150" tIns="28575" rIns="57150" bIns="2857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1" kern="1200" dirty="0" smtClean="0"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24 единиц </a:t>
          </a:r>
          <a:endParaRPr lang="ru-RU" sz="1500" b="1" kern="1200" dirty="0">
            <a:solidFill>
              <a:schemeClr val="tx1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sp:txBody>
      <dsp:txXfrm>
        <a:off x="45395" y="1999841"/>
        <a:ext cx="1784870" cy="839138"/>
      </dsp:txXfrm>
    </dsp:sp>
    <dsp:sp modelId="{4281C372-CEB7-434E-8C4C-3657416CCCF4}">
      <dsp:nvSpPr>
        <dsp:cNvPr id="0" name=""/>
        <dsp:cNvSpPr/>
      </dsp:nvSpPr>
      <dsp:spPr>
        <a:xfrm rot="5400000">
          <a:off x="3090908" y="1728581"/>
          <a:ext cx="904009" cy="3334506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b="1" kern="1200" dirty="0" smtClean="0"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Малой механизации, в </a:t>
          </a:r>
          <a:r>
            <a:rPr lang="ru-RU" sz="1100" b="1" kern="1200" dirty="0" err="1" smtClean="0"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т.ч</a:t>
          </a:r>
          <a:r>
            <a:rPr lang="ru-RU" sz="1100" b="1" kern="1200" dirty="0" smtClean="0"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. Автопогрузчики грузоподъемностью </a:t>
          </a:r>
          <a:r>
            <a:rPr lang="ru-RU" sz="1100" b="1" kern="1200" dirty="0"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от </a:t>
          </a:r>
          <a:r>
            <a:rPr lang="ru-RU" sz="1100" b="1" kern="1200" dirty="0" smtClean="0"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1,2 </a:t>
          </a:r>
          <a:r>
            <a:rPr lang="ru-RU" sz="1100" b="1" kern="1200" dirty="0"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до 45 тн</a:t>
          </a:r>
          <a:endParaRPr lang="ru-RU" sz="1100" b="1" kern="1200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sp:txBody>
      <dsp:txXfrm rot="-5400000">
        <a:off x="1875660" y="2987959"/>
        <a:ext cx="3290376" cy="815749"/>
      </dsp:txXfrm>
    </dsp:sp>
    <dsp:sp modelId="{AC19E11A-B6D2-4DC8-929D-F55418C7C246}">
      <dsp:nvSpPr>
        <dsp:cNvPr id="0" name=""/>
        <dsp:cNvSpPr/>
      </dsp:nvSpPr>
      <dsp:spPr>
        <a:xfrm>
          <a:off x="0" y="2930871"/>
          <a:ext cx="1875660" cy="929928"/>
        </a:xfrm>
        <a:prstGeom prst="roundRect">
          <a:avLst/>
        </a:prstGeom>
        <a:solidFill>
          <a:schemeClr val="accent2">
            <a:lumMod val="9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7150" tIns="28575" rIns="57150" bIns="2857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1" kern="1200" dirty="0" smtClean="0"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23 единицы</a:t>
          </a:r>
          <a:endParaRPr lang="ru-RU" sz="1500" b="1" kern="1200" dirty="0">
            <a:solidFill>
              <a:schemeClr val="tx1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sp:txBody>
      <dsp:txXfrm>
        <a:off x="45395" y="2976266"/>
        <a:ext cx="1784870" cy="839138"/>
      </dsp:txXfrm>
    </dsp:sp>
    <dsp:sp modelId="{C10FA0B2-85E4-4F87-9733-432A7987095B}">
      <dsp:nvSpPr>
        <dsp:cNvPr id="0" name=""/>
        <dsp:cNvSpPr/>
      </dsp:nvSpPr>
      <dsp:spPr>
        <a:xfrm rot="5400000">
          <a:off x="3090908" y="2705006"/>
          <a:ext cx="904009" cy="3334506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b="1" kern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Общей протяженностью </a:t>
          </a:r>
          <a:r>
            <a:rPr lang="ru-RU" sz="1100" b="1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700м</a:t>
          </a:r>
          <a:endParaRPr lang="ru-RU" sz="1100" b="1" kern="1200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sp:txBody>
      <dsp:txXfrm rot="-5400000">
        <a:off x="1875660" y="3964384"/>
        <a:ext cx="3290376" cy="815749"/>
      </dsp:txXfrm>
    </dsp:sp>
    <dsp:sp modelId="{2EC09480-EEAD-4C4D-9A46-74797FF28326}">
      <dsp:nvSpPr>
        <dsp:cNvPr id="0" name=""/>
        <dsp:cNvSpPr/>
      </dsp:nvSpPr>
      <dsp:spPr>
        <a:xfrm>
          <a:off x="0" y="3907295"/>
          <a:ext cx="1875660" cy="929928"/>
        </a:xfrm>
        <a:prstGeom prst="roundRect">
          <a:avLst/>
        </a:prstGeom>
        <a:solidFill>
          <a:schemeClr val="accent2">
            <a:lumMod val="9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7150" tIns="28575" rIns="57150" bIns="2857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1" kern="1200" dirty="0" smtClean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3 причала </a:t>
          </a:r>
          <a:endParaRPr lang="ru-RU" sz="1500" b="1" kern="1200" dirty="0">
            <a:solidFill>
              <a:schemeClr val="tx1"/>
            </a:solidFill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sp:txBody>
      <dsp:txXfrm>
        <a:off x="45395" y="3952690"/>
        <a:ext cx="1784870" cy="839138"/>
      </dsp:txXfrm>
    </dsp:sp>
    <dsp:sp modelId="{540E47FD-1462-48F9-A898-55E6067C5323}">
      <dsp:nvSpPr>
        <dsp:cNvPr id="0" name=""/>
        <dsp:cNvSpPr/>
      </dsp:nvSpPr>
      <dsp:spPr>
        <a:xfrm rot="5400000">
          <a:off x="3090908" y="3681431"/>
          <a:ext cx="904009" cy="3334506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100" b="1" kern="1200" dirty="0"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Выход на </a:t>
          </a:r>
          <a:r>
            <a:rPr lang="ru-RU" sz="1100" b="1" kern="1200" dirty="0" smtClean="0"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станцию </a:t>
          </a:r>
          <a:r>
            <a:rPr lang="ru-RU" sz="1100" b="1" kern="1200" dirty="0" err="1" smtClean="0"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Лесосибирск</a:t>
          </a:r>
          <a:r>
            <a:rPr lang="ru-RU" sz="1100" b="1" kern="1200" dirty="0" smtClean="0"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 Транссибирской </a:t>
          </a:r>
          <a:r>
            <a:rPr lang="ru-RU" sz="1100" b="1" kern="1200" dirty="0"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железнодорожной магистрали</a:t>
          </a:r>
          <a:endParaRPr lang="ru-RU" sz="1100" b="1" kern="1200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sp:txBody>
      <dsp:txXfrm rot="-5400000">
        <a:off x="1875660" y="4940809"/>
        <a:ext cx="3290376" cy="815749"/>
      </dsp:txXfrm>
    </dsp:sp>
    <dsp:sp modelId="{748519A5-5BFB-419C-9FB2-E4A86AF0DF05}">
      <dsp:nvSpPr>
        <dsp:cNvPr id="0" name=""/>
        <dsp:cNvSpPr/>
      </dsp:nvSpPr>
      <dsp:spPr>
        <a:xfrm>
          <a:off x="0" y="4883720"/>
          <a:ext cx="1875660" cy="929928"/>
        </a:xfrm>
        <a:prstGeom prst="roundRect">
          <a:avLst/>
        </a:prstGeom>
        <a:solidFill>
          <a:schemeClr val="accent2">
            <a:lumMod val="90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7150" tIns="28575" rIns="57150" bIns="2857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1" kern="1200" dirty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rPr>
            <a:t>Связь с железной дорогой </a:t>
          </a:r>
        </a:p>
      </dsp:txBody>
      <dsp:txXfrm>
        <a:off x="45395" y="4929115"/>
        <a:ext cx="1784870" cy="83913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9745385" y="3"/>
            <a:ext cx="65" cy="20005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defTabSz="891793" eaLnBrk="0" hangingPunct="0">
              <a:spcBef>
                <a:spcPct val="50000"/>
              </a:spcBef>
              <a:defRPr b="0">
                <a:solidFill>
                  <a:schemeClr val="tx1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1126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3" y="6446090"/>
            <a:ext cx="65" cy="20005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defTabSz="891793" eaLnBrk="0" hangingPunct="0">
              <a:spcBef>
                <a:spcPct val="50000"/>
              </a:spcBef>
              <a:defRPr b="0">
                <a:solidFill>
                  <a:schemeClr val="tx1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>
              <a:defRPr/>
            </a:pPr>
            <a:endParaRPr lang="en-US" altLang="zh-TW" dirty="0"/>
          </a:p>
        </p:txBody>
      </p:sp>
      <p:sp>
        <p:nvSpPr>
          <p:cNvPr id="1126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9495383" y="6446091"/>
            <a:ext cx="250068" cy="20005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891793" eaLnBrk="0" hangingPunct="0">
              <a:spcBef>
                <a:spcPct val="50000"/>
              </a:spcBef>
              <a:defRPr b="0">
                <a:solidFill>
                  <a:schemeClr val="tx1"/>
                </a:solidFill>
                <a:latin typeface="Arial Unicode MS" pitchFamily="34" charset="-128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>
              <a:defRPr/>
            </a:pPr>
            <a:fld id="{6822C922-61ED-4216-B2FA-8DADF460B8F7}" type="slidenum">
              <a:rPr lang="zh-TW" altLang="en-US"/>
              <a:pPr>
                <a:defRPr/>
              </a:pPr>
              <a:t>‹#›</a:t>
            </a:fld>
            <a:endParaRPr lang="en-US" altLang="zh-TW" dirty="0"/>
          </a:p>
        </p:txBody>
      </p:sp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4237945" cy="333908"/>
          </a:xfrm>
          <a:prstGeom prst="rect">
            <a:avLst/>
          </a:prstGeom>
        </p:spPr>
        <p:txBody>
          <a:bodyPr vert="horz" lIns="89911" tIns="44955" rIns="89911" bIns="44955" rtlCol="0"/>
          <a:lstStyle>
            <a:lvl1pPr algn="l">
              <a:defRPr sz="1200"/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45752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232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387600" y="198438"/>
            <a:ext cx="2551113" cy="19129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24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52175" y="2347646"/>
            <a:ext cx="8295501" cy="382065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zh-TW" noProof="0"/>
              <a:t>Click to edit Master text styles</a:t>
            </a:r>
          </a:p>
          <a:p>
            <a:pPr lvl="1"/>
            <a:r>
              <a:rPr lang="en-GB" altLang="zh-TW" noProof="0"/>
              <a:t>Second level</a:t>
            </a:r>
          </a:p>
          <a:p>
            <a:pPr lvl="2"/>
            <a:r>
              <a:rPr lang="en-GB" altLang="zh-TW" noProof="0"/>
              <a:t>Third level</a:t>
            </a:r>
          </a:p>
          <a:p>
            <a:pPr lvl="3"/>
            <a:r>
              <a:rPr lang="en-GB" altLang="zh-TW" noProof="0"/>
              <a:t>Fourth level</a:t>
            </a:r>
          </a:p>
          <a:p>
            <a:pPr lvl="4"/>
            <a:r>
              <a:rPr lang="en-GB" altLang="zh-TW" noProof="0"/>
              <a:t>Fifth level</a:t>
            </a:r>
          </a:p>
        </p:txBody>
      </p:sp>
      <p:sp>
        <p:nvSpPr>
          <p:cNvPr id="1024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297433" y="6338956"/>
            <a:ext cx="4240229" cy="299721"/>
          </a:xfrm>
          <a:prstGeom prst="rect">
            <a:avLst/>
          </a:prstGeom>
          <a:noFill/>
          <a:ln>
            <a:noFill/>
          </a:ln>
        </p:spPr>
        <p:txBody>
          <a:bodyPr vert="horz" wrap="square" lIns="20122" tIns="0" rIns="20122" bIns="0" numCol="1" anchor="b" anchorCtr="0" compatLnSpc="1">
            <a:prstTxWarp prst="textNoShape">
              <a:avLst/>
            </a:prstTxWarp>
          </a:bodyPr>
          <a:lstStyle>
            <a:lvl1pPr algn="r" defTabSz="957161" eaLnBrk="0" hangingPunct="0">
              <a:spcBef>
                <a:spcPct val="0"/>
              </a:spcBef>
              <a:defRPr sz="1200" b="0">
                <a:solidFill>
                  <a:schemeClr val="tx1"/>
                </a:solidFill>
                <a:latin typeface="Frutiger 45 Light" pitchFamily="34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>
              <a:defRPr/>
            </a:pPr>
            <a:fld id="{4988F5DB-6401-4A70-8583-03D5FF1FDDD6}" type="slidenum">
              <a:rPr lang="zh-TW" altLang="en-GB"/>
              <a:pPr>
                <a:defRPr/>
              </a:pPr>
              <a:t>‹#›</a:t>
            </a:fld>
            <a:endParaRPr lang="en-GB" altLang="zh-TW" dirty="0"/>
          </a:p>
        </p:txBody>
      </p:sp>
      <p:sp>
        <p:nvSpPr>
          <p:cNvPr id="206853" name="Line 8"/>
          <p:cNvSpPr>
            <a:spLocks noChangeShapeType="1"/>
          </p:cNvSpPr>
          <p:nvPr/>
        </p:nvSpPr>
        <p:spPr bwMode="gray">
          <a:xfrm>
            <a:off x="952175" y="2249513"/>
            <a:ext cx="8261252" cy="0"/>
          </a:xfrm>
          <a:prstGeom prst="line">
            <a:avLst/>
          </a:prstGeom>
          <a:noFill/>
          <a:ln w="25400">
            <a:solidFill>
              <a:schemeClr val="bg2"/>
            </a:solidFill>
            <a:round/>
            <a:headEnd type="none" w="sm" len="sm"/>
            <a:tailEnd type="none" w="sm" len="sm"/>
          </a:ln>
        </p:spPr>
        <p:txBody>
          <a:bodyPr wrap="none" lIns="89646" tIns="44826" rIns="89646" bIns="44826" anchor="ctr"/>
          <a:lstStyle/>
          <a:p>
            <a:pPr eaLnBrk="0" hangingPunct="0">
              <a:spcBef>
                <a:spcPct val="50000"/>
              </a:spcBef>
              <a:defRPr/>
            </a:pPr>
            <a:endParaRPr lang="ru-RU" dirty="0">
              <a:latin typeface="Arial" pitchFamily="34" charset="0"/>
              <a:ea typeface="Batang" pitchFamily="18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10131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88913" indent="-188913" algn="l" rtl="0" eaLnBrk="0" fontAlgn="base" hangingPunct="0">
      <a:spcBef>
        <a:spcPct val="30000"/>
      </a:spcBef>
      <a:spcAft>
        <a:spcPct val="0"/>
      </a:spcAft>
      <a:buClr>
        <a:schemeClr val="tx2"/>
      </a:buClr>
      <a:buSzPct val="123000"/>
      <a:buFont typeface="Symbol" pitchFamily="18" charset="2"/>
      <a:buChar char="¨"/>
      <a:defRPr sz="1200" kern="1200">
        <a:solidFill>
          <a:schemeClr val="tx1"/>
        </a:solidFill>
        <a:latin typeface="Frutiger 45 Light" pitchFamily="34" charset="0"/>
        <a:ea typeface="+mn-ea"/>
        <a:cs typeface="Arial" charset="0"/>
      </a:defRPr>
    </a:lvl1pPr>
    <a:lvl2pPr marL="555625" indent="-174625" algn="l" rtl="0" eaLnBrk="0" fontAlgn="base" hangingPunct="0">
      <a:spcBef>
        <a:spcPct val="30000"/>
      </a:spcBef>
      <a:spcAft>
        <a:spcPct val="0"/>
      </a:spcAft>
      <a:buSzPct val="80000"/>
      <a:buChar char="—"/>
      <a:defRPr sz="1200" kern="1200">
        <a:solidFill>
          <a:schemeClr val="tx1"/>
        </a:solidFill>
        <a:latin typeface="Frutiger 45 Light" pitchFamily="34" charset="0"/>
        <a:ea typeface="+mn-ea"/>
        <a:cs typeface="Arial" charset="0"/>
      </a:defRPr>
    </a:lvl2pPr>
    <a:lvl3pPr marL="936625" indent="-188913" algn="l" rtl="0" eaLnBrk="0" fontAlgn="base" hangingPunct="0">
      <a:spcBef>
        <a:spcPct val="30000"/>
      </a:spcBef>
      <a:spcAft>
        <a:spcPct val="0"/>
      </a:spcAft>
      <a:buSzPct val="85000"/>
      <a:buChar char="–"/>
      <a:defRPr sz="1200" kern="1200">
        <a:solidFill>
          <a:schemeClr val="tx1"/>
        </a:solidFill>
        <a:latin typeface="Frutiger 45 Light" pitchFamily="34" charset="0"/>
        <a:ea typeface="+mn-ea"/>
        <a:cs typeface="Arial" charset="0"/>
      </a:defRPr>
    </a:lvl3pPr>
    <a:lvl4pPr marL="1327150" indent="-198438" algn="l" rtl="0" eaLnBrk="0" fontAlgn="base" hangingPunct="0">
      <a:spcBef>
        <a:spcPct val="30000"/>
      </a:spcBef>
      <a:spcAft>
        <a:spcPct val="0"/>
      </a:spcAft>
      <a:buSzPct val="85000"/>
      <a:buChar char="–"/>
      <a:defRPr sz="1200" kern="1200">
        <a:solidFill>
          <a:schemeClr val="tx1"/>
        </a:solidFill>
        <a:latin typeface="Frutiger 45 Light" pitchFamily="34" charset="0"/>
        <a:ea typeface="+mn-ea"/>
        <a:cs typeface="Arial" charset="0"/>
      </a:defRPr>
    </a:lvl4pPr>
    <a:lvl5pPr marL="1693863" indent="-174625" algn="l" rtl="0" eaLnBrk="0" fontAlgn="base" hangingPunct="0">
      <a:spcBef>
        <a:spcPct val="30000"/>
      </a:spcBef>
      <a:spcAft>
        <a:spcPct val="0"/>
      </a:spcAft>
      <a:buSzPct val="85000"/>
      <a:buChar char="–"/>
      <a:defRPr sz="1200" kern="1200">
        <a:solidFill>
          <a:schemeClr val="tx1"/>
        </a:solidFill>
        <a:latin typeface="Frutiger 45 Light" pitchFamily="34" charset="0"/>
        <a:ea typeface="+mn-ea"/>
        <a:cs typeface="Arial" charset="0"/>
      </a:defRPr>
    </a:lvl5pPr>
    <a:lvl6pPr marL="2264389" algn="l" defTabSz="9057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17262" algn="l" defTabSz="9057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70140" algn="l" defTabSz="9057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23028" algn="l" defTabSz="90576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</p:spPr>
      </p:sp>
      <p:sp>
        <p:nvSpPr>
          <p:cNvPr id="13314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vert="horz" wrap="square" lIns="90332" tIns="45164" rIns="90332" bIns="45164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ru-RU">
                <a:solidFill>
                  <a:srgbClr val="000000"/>
                </a:solidFill>
              </a:rPr>
              <a:t>2 вариант титульного слайда</a:t>
            </a:r>
          </a:p>
        </p:txBody>
      </p:sp>
    </p:spTree>
    <p:extLst>
      <p:ext uri="{BB962C8B-B14F-4D97-AF65-F5344CB8AC3E}">
        <p14:creationId xmlns:p14="http://schemas.microsoft.com/office/powerpoint/2010/main" val="30631812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1.emf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74054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6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Line 67"/>
          <p:cNvSpPr>
            <a:spLocks noChangeShapeType="1"/>
          </p:cNvSpPr>
          <p:nvPr/>
        </p:nvSpPr>
        <p:spPr bwMode="auto">
          <a:xfrm>
            <a:off x="9663113" y="2768600"/>
            <a:ext cx="0" cy="1473200"/>
          </a:xfrm>
          <a:prstGeom prst="line">
            <a:avLst/>
          </a:prstGeom>
          <a:noFill/>
          <a:ln w="76200">
            <a:solidFill>
              <a:schemeClr val="folHlink"/>
            </a:solidFill>
            <a:round/>
            <a:headEnd/>
            <a:tailEnd/>
          </a:ln>
        </p:spPr>
        <p:txBody>
          <a:bodyPr lIns="0" tIns="0" rIns="0" bIns="0"/>
          <a:lstStyle/>
          <a:p>
            <a:pPr eaLnBrk="0" hangingPunct="0">
              <a:spcBef>
                <a:spcPct val="50000"/>
              </a:spcBef>
              <a:defRPr/>
            </a:pPr>
            <a:endParaRPr lang="ru-RU" dirty="0">
              <a:latin typeface="Arial" pitchFamily="34" charset="0"/>
              <a:ea typeface="Batang" pitchFamily="18" charset="-127"/>
              <a:cs typeface="+mn-cs"/>
            </a:endParaRPr>
          </a:p>
        </p:txBody>
      </p:sp>
      <p:grpSp>
        <p:nvGrpSpPr>
          <p:cNvPr id="6" name="Group 69"/>
          <p:cNvGrpSpPr>
            <a:grpSpLocks/>
          </p:cNvGrpSpPr>
          <p:nvPr/>
        </p:nvGrpSpPr>
        <p:grpSpPr bwMode="auto">
          <a:xfrm>
            <a:off x="-1116013" y="379413"/>
            <a:ext cx="965200" cy="4916487"/>
            <a:chOff x="-703" y="239"/>
            <a:chExt cx="608" cy="3097"/>
          </a:xfrm>
        </p:grpSpPr>
        <p:sp>
          <p:nvSpPr>
            <p:cNvPr id="7" name="LAYOUT HEADER"/>
            <p:cNvSpPr txBox="1">
              <a:spLocks noChangeArrowheads="1"/>
            </p:cNvSpPr>
            <p:nvPr userDrawn="1">
              <p:custDataLst>
                <p:tags r:id="rId4"/>
              </p:custDataLst>
            </p:nvPr>
          </p:nvSpPr>
          <p:spPr bwMode="auto">
            <a:xfrm>
              <a:off x="-703" y="239"/>
              <a:ext cx="599" cy="138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38100"/>
            <a:lstStyle>
              <a:lvl1pPr>
                <a:defRPr sz="1300" b="1">
                  <a:solidFill>
                    <a:srgbClr val="164463"/>
                  </a:solidFill>
                  <a:latin typeface="Arial" pitchFamily="34" charset="0"/>
                  <a:ea typeface="Batang" pitchFamily="18" charset="-127"/>
                </a:defRPr>
              </a:lvl1pPr>
              <a:lvl2pPr marL="742950" indent="-285750">
                <a:defRPr sz="1300" b="1">
                  <a:solidFill>
                    <a:srgbClr val="164463"/>
                  </a:solidFill>
                  <a:latin typeface="Arial" pitchFamily="34" charset="0"/>
                  <a:ea typeface="Batang" pitchFamily="18" charset="-127"/>
                </a:defRPr>
              </a:lvl2pPr>
              <a:lvl3pPr marL="1143000" indent="-228600">
                <a:defRPr sz="1300" b="1">
                  <a:solidFill>
                    <a:srgbClr val="164463"/>
                  </a:solidFill>
                  <a:latin typeface="Arial" pitchFamily="34" charset="0"/>
                  <a:ea typeface="Batang" pitchFamily="18" charset="-127"/>
                </a:defRPr>
              </a:lvl3pPr>
              <a:lvl4pPr marL="1600200" indent="-228600">
                <a:defRPr sz="1300" b="1">
                  <a:solidFill>
                    <a:srgbClr val="164463"/>
                  </a:solidFill>
                  <a:latin typeface="Arial" pitchFamily="34" charset="0"/>
                  <a:ea typeface="Batang" pitchFamily="18" charset="-127"/>
                </a:defRPr>
              </a:lvl4pPr>
              <a:lvl5pPr marL="2057400" indent="-228600">
                <a:defRPr sz="1300" b="1">
                  <a:solidFill>
                    <a:srgbClr val="164463"/>
                  </a:solidFill>
                  <a:latin typeface="Arial" pitchFamily="34" charset="0"/>
                  <a:ea typeface="Batang" pitchFamily="18" charset="-127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1300" b="1">
                  <a:solidFill>
                    <a:srgbClr val="164463"/>
                  </a:solidFill>
                  <a:latin typeface="Arial" pitchFamily="34" charset="0"/>
                  <a:ea typeface="Batang" pitchFamily="18" charset="-127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1300" b="1">
                  <a:solidFill>
                    <a:srgbClr val="164463"/>
                  </a:solidFill>
                  <a:latin typeface="Arial" pitchFamily="34" charset="0"/>
                  <a:ea typeface="Batang" pitchFamily="18" charset="-127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1300" b="1">
                  <a:solidFill>
                    <a:srgbClr val="164463"/>
                  </a:solidFill>
                  <a:latin typeface="Arial" pitchFamily="34" charset="0"/>
                  <a:ea typeface="Batang" pitchFamily="18" charset="-127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1300" b="1">
                  <a:solidFill>
                    <a:srgbClr val="164463"/>
                  </a:solidFill>
                  <a:latin typeface="Arial" pitchFamily="34" charset="0"/>
                  <a:ea typeface="Batang" pitchFamily="18" charset="-127"/>
                </a:defRPr>
              </a:lvl9pPr>
            </a:lstStyle>
            <a:p>
              <a:pPr eaLnBrk="0" hangingPunct="0">
                <a:spcBef>
                  <a:spcPct val="50000"/>
                </a:spcBef>
                <a:defRPr/>
              </a:pPr>
              <a:r>
                <a:rPr lang="en-GB" sz="1100" dirty="0">
                  <a:solidFill>
                    <a:schemeClr val="tx1"/>
                  </a:solidFill>
                  <a:ea typeface="Arial Unicode MS" pitchFamily="34" charset="-128"/>
                  <a:cs typeface="Arial Unicode MS" pitchFamily="34" charset="-128"/>
                </a:rPr>
                <a:t>Colour palette</a:t>
              </a:r>
            </a:p>
          </p:txBody>
        </p:sp>
        <p:sp>
          <p:nvSpPr>
            <p:cNvPr id="8" name="Rectangle 71"/>
            <p:cNvSpPr>
              <a:spLocks noChangeArrowheads="1"/>
            </p:cNvSpPr>
            <p:nvPr userDrawn="1"/>
          </p:nvSpPr>
          <p:spPr bwMode="gray">
            <a:xfrm rot="-5400000">
              <a:off x="-714" y="2329"/>
              <a:ext cx="275" cy="254"/>
            </a:xfrm>
            <a:prstGeom prst="rect">
              <a:avLst/>
            </a:prstGeom>
            <a:solidFill>
              <a:srgbClr val="ECECEC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algn="ctr">
                <a:defRPr/>
              </a:pPr>
              <a:r>
                <a:rPr lang="en-GB" sz="800" b="0" dirty="0">
                  <a:solidFill>
                    <a:schemeClr val="tx1"/>
                  </a:solidFill>
                  <a:latin typeface="Arial" pitchFamily="34" charset="0"/>
                  <a:ea typeface="Batang" pitchFamily="18" charset="-127"/>
                  <a:cs typeface="+mn-cs"/>
                </a:rPr>
                <a:t>236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chemeClr val="tx1"/>
                  </a:solidFill>
                  <a:latin typeface="Arial" pitchFamily="34" charset="0"/>
                  <a:ea typeface="Batang" pitchFamily="18" charset="-127"/>
                  <a:cs typeface="+mn-cs"/>
                </a:rPr>
                <a:t>236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chemeClr val="tx1"/>
                  </a:solidFill>
                  <a:latin typeface="Arial" pitchFamily="34" charset="0"/>
                  <a:ea typeface="Batang" pitchFamily="18" charset="-127"/>
                  <a:cs typeface="+mn-cs"/>
                </a:rPr>
                <a:t>236</a:t>
              </a:r>
            </a:p>
          </p:txBody>
        </p:sp>
        <p:sp>
          <p:nvSpPr>
            <p:cNvPr id="9" name="Rectangle 72"/>
            <p:cNvSpPr>
              <a:spLocks noChangeArrowheads="1"/>
            </p:cNvSpPr>
            <p:nvPr userDrawn="1"/>
          </p:nvSpPr>
          <p:spPr bwMode="gray">
            <a:xfrm rot="-5400000">
              <a:off x="-713" y="1212"/>
              <a:ext cx="274" cy="25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algn="ctr">
                <a:defRPr/>
              </a:pPr>
              <a:r>
                <a:rPr lang="en-GB" sz="800" b="0" dirty="0">
                  <a:solidFill>
                    <a:schemeClr val="bg1"/>
                  </a:solidFill>
                  <a:latin typeface="Arial" pitchFamily="34" charset="0"/>
                  <a:ea typeface="Batang" pitchFamily="18" charset="-127"/>
                  <a:cs typeface="+mn-cs"/>
                </a:rPr>
                <a:t>0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chemeClr val="bg1"/>
                  </a:solidFill>
                  <a:latin typeface="Arial" pitchFamily="34" charset="0"/>
                  <a:ea typeface="Batang" pitchFamily="18" charset="-127"/>
                  <a:cs typeface="+mn-cs"/>
                </a:rPr>
                <a:t>0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chemeClr val="bg1"/>
                  </a:solidFill>
                  <a:latin typeface="Arial" pitchFamily="34" charset="0"/>
                  <a:ea typeface="Batang" pitchFamily="18" charset="-127"/>
                  <a:cs typeface="+mn-cs"/>
                </a:rPr>
                <a:t>0</a:t>
              </a:r>
            </a:p>
          </p:txBody>
        </p:sp>
        <p:sp>
          <p:nvSpPr>
            <p:cNvPr id="10" name="Rectangle 73"/>
            <p:cNvSpPr>
              <a:spLocks noChangeArrowheads="1"/>
            </p:cNvSpPr>
            <p:nvPr userDrawn="1"/>
          </p:nvSpPr>
          <p:spPr bwMode="gray">
            <a:xfrm rot="-5400000">
              <a:off x="-713" y="469"/>
              <a:ext cx="274" cy="25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algn="ctr">
                <a:defRPr/>
              </a:pPr>
              <a:r>
                <a:rPr lang="en-GB" sz="800" b="0" dirty="0">
                  <a:solidFill>
                    <a:schemeClr val="bg1"/>
                  </a:solidFill>
                  <a:latin typeface="Arial" pitchFamily="34" charset="0"/>
                  <a:ea typeface="Batang" pitchFamily="18" charset="-127"/>
                  <a:cs typeface="+mn-cs"/>
                </a:rPr>
                <a:t>35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chemeClr val="bg1"/>
                  </a:solidFill>
                  <a:latin typeface="Arial" pitchFamily="34" charset="0"/>
                  <a:ea typeface="Batang" pitchFamily="18" charset="-127"/>
                  <a:cs typeface="+mn-cs"/>
                </a:rPr>
                <a:t>108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chemeClr val="bg1"/>
                  </a:solidFill>
                  <a:latin typeface="Arial" pitchFamily="34" charset="0"/>
                  <a:ea typeface="Batang" pitchFamily="18" charset="-127"/>
                  <a:cs typeface="+mn-cs"/>
                </a:rPr>
                <a:t>176</a:t>
              </a:r>
            </a:p>
          </p:txBody>
        </p:sp>
        <p:sp>
          <p:nvSpPr>
            <p:cNvPr id="11" name="Rectangle 74"/>
            <p:cNvSpPr>
              <a:spLocks noChangeArrowheads="1"/>
            </p:cNvSpPr>
            <p:nvPr userDrawn="1"/>
          </p:nvSpPr>
          <p:spPr bwMode="gray">
            <a:xfrm rot="-5400000">
              <a:off x="-714" y="2701"/>
              <a:ext cx="275" cy="254"/>
            </a:xfrm>
            <a:prstGeom prst="rect">
              <a:avLst/>
            </a:prstGeom>
            <a:solidFill>
              <a:srgbClr val="B5CEE5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algn="ctr">
                <a:defRPr/>
              </a:pPr>
              <a:r>
                <a:rPr lang="en-GB" sz="800" b="0" dirty="0">
                  <a:solidFill>
                    <a:srgbClr val="000000"/>
                  </a:solidFill>
                  <a:latin typeface="Arial" pitchFamily="34" charset="0"/>
                  <a:ea typeface="Batang" pitchFamily="18" charset="-127"/>
                  <a:cs typeface="+mn-cs"/>
                </a:rPr>
                <a:t>181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rgbClr val="000000"/>
                  </a:solidFill>
                  <a:latin typeface="Arial" pitchFamily="34" charset="0"/>
                  <a:ea typeface="Batang" pitchFamily="18" charset="-127"/>
                  <a:cs typeface="+mn-cs"/>
                </a:rPr>
                <a:t>206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rgbClr val="000000"/>
                  </a:solidFill>
                  <a:latin typeface="Arial" pitchFamily="34" charset="0"/>
                  <a:ea typeface="Batang" pitchFamily="18" charset="-127"/>
                  <a:cs typeface="+mn-cs"/>
                </a:rPr>
                <a:t>229</a:t>
              </a:r>
            </a:p>
          </p:txBody>
        </p:sp>
        <p:sp>
          <p:nvSpPr>
            <p:cNvPr id="12" name="Rectangle 75"/>
            <p:cNvSpPr>
              <a:spLocks noChangeArrowheads="1"/>
            </p:cNvSpPr>
            <p:nvPr userDrawn="1"/>
          </p:nvSpPr>
          <p:spPr bwMode="gray">
            <a:xfrm rot="-5400000">
              <a:off x="-713" y="839"/>
              <a:ext cx="275" cy="254"/>
            </a:xfrm>
            <a:prstGeom prst="rect">
              <a:avLst/>
            </a:prstGeom>
            <a:solidFill>
              <a:schemeClr val="hlink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algn="ctr">
                <a:defRPr/>
              </a:pPr>
              <a:r>
                <a:rPr lang="en-GB" sz="800" b="0" dirty="0">
                  <a:solidFill>
                    <a:schemeClr val="bg1"/>
                  </a:solidFill>
                  <a:latin typeface="Arial" pitchFamily="34" charset="0"/>
                  <a:ea typeface="Batang" pitchFamily="18" charset="-127"/>
                  <a:cs typeface="+mn-cs"/>
                </a:rPr>
                <a:t>151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chemeClr val="bg1"/>
                  </a:solidFill>
                  <a:latin typeface="Arial" pitchFamily="34" charset="0"/>
                  <a:ea typeface="Batang" pitchFamily="18" charset="-127"/>
                  <a:cs typeface="+mn-cs"/>
                </a:rPr>
                <a:t>151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chemeClr val="bg1"/>
                  </a:solidFill>
                  <a:latin typeface="Arial" pitchFamily="34" charset="0"/>
                  <a:ea typeface="Batang" pitchFamily="18" charset="-127"/>
                  <a:cs typeface="+mn-cs"/>
                </a:rPr>
                <a:t>151</a:t>
              </a:r>
            </a:p>
          </p:txBody>
        </p:sp>
        <p:sp>
          <p:nvSpPr>
            <p:cNvPr id="13" name="Rectangle 76"/>
            <p:cNvSpPr>
              <a:spLocks noChangeArrowheads="1"/>
            </p:cNvSpPr>
            <p:nvPr userDrawn="1"/>
          </p:nvSpPr>
          <p:spPr bwMode="gray">
            <a:xfrm rot="-5400000">
              <a:off x="-713" y="1956"/>
              <a:ext cx="274" cy="254"/>
            </a:xfrm>
            <a:prstGeom prst="rect">
              <a:avLst/>
            </a:prstGeom>
            <a:solidFill>
              <a:srgbClr val="D60500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algn="ctr">
                <a:defRPr/>
              </a:pPr>
              <a:r>
                <a:rPr lang="en-GB" sz="800" b="0" dirty="0">
                  <a:solidFill>
                    <a:schemeClr val="bg1"/>
                  </a:solidFill>
                  <a:latin typeface="Arial" pitchFamily="34" charset="0"/>
                  <a:ea typeface="Batang" pitchFamily="18" charset="-127"/>
                  <a:cs typeface="+mn-cs"/>
                </a:rPr>
                <a:t>214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chemeClr val="bg1"/>
                  </a:solidFill>
                  <a:latin typeface="Arial" pitchFamily="34" charset="0"/>
                  <a:ea typeface="Batang" pitchFamily="18" charset="-127"/>
                  <a:cs typeface="+mn-cs"/>
                </a:rPr>
                <a:t>5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chemeClr val="bg1"/>
                  </a:solidFill>
                  <a:latin typeface="Arial" pitchFamily="34" charset="0"/>
                  <a:ea typeface="Batang" pitchFamily="18" charset="-127"/>
                  <a:cs typeface="+mn-cs"/>
                </a:rPr>
                <a:t>0</a:t>
              </a:r>
            </a:p>
          </p:txBody>
        </p:sp>
        <p:sp>
          <p:nvSpPr>
            <p:cNvPr id="14" name="Rectangle 77"/>
            <p:cNvSpPr>
              <a:spLocks noChangeArrowheads="1"/>
            </p:cNvSpPr>
            <p:nvPr userDrawn="1"/>
          </p:nvSpPr>
          <p:spPr bwMode="gray">
            <a:xfrm rot="-5400000">
              <a:off x="-713" y="3072"/>
              <a:ext cx="274" cy="254"/>
            </a:xfrm>
            <a:prstGeom prst="rect">
              <a:avLst/>
            </a:prstGeom>
            <a:solidFill>
              <a:srgbClr val="4981BF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algn="ctr">
                <a:defRPr/>
              </a:pPr>
              <a:r>
                <a:rPr lang="en-GB" sz="800" b="0" dirty="0">
                  <a:solidFill>
                    <a:schemeClr val="bg1"/>
                  </a:solidFill>
                  <a:latin typeface="Arial" pitchFamily="34" charset="0"/>
                  <a:ea typeface="Batang" pitchFamily="18" charset="-127"/>
                  <a:cs typeface="+mn-cs"/>
                </a:rPr>
                <a:t>73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chemeClr val="bg1"/>
                  </a:solidFill>
                  <a:latin typeface="Arial" pitchFamily="34" charset="0"/>
                  <a:ea typeface="Batang" pitchFamily="18" charset="-127"/>
                  <a:cs typeface="+mn-cs"/>
                </a:rPr>
                <a:t>129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chemeClr val="bg1"/>
                  </a:solidFill>
                  <a:latin typeface="Arial" pitchFamily="34" charset="0"/>
                  <a:ea typeface="Batang" pitchFamily="18" charset="-127"/>
                  <a:cs typeface="+mn-cs"/>
                </a:rPr>
                <a:t>191</a:t>
              </a:r>
            </a:p>
          </p:txBody>
        </p:sp>
        <p:sp>
          <p:nvSpPr>
            <p:cNvPr id="15" name="Rectangle 78"/>
            <p:cNvSpPr>
              <a:spLocks noChangeArrowheads="1"/>
            </p:cNvSpPr>
            <p:nvPr userDrawn="1"/>
          </p:nvSpPr>
          <p:spPr bwMode="gray">
            <a:xfrm rot="-5400000">
              <a:off x="-713" y="1584"/>
              <a:ext cx="274" cy="25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algn="ctr">
                <a:defRPr/>
              </a:pPr>
              <a:r>
                <a:rPr lang="en-GB" sz="800" b="0" dirty="0">
                  <a:solidFill>
                    <a:schemeClr val="bg1"/>
                  </a:solidFill>
                  <a:latin typeface="Arial" pitchFamily="34" charset="0"/>
                  <a:ea typeface="Batang" pitchFamily="18" charset="-127"/>
                  <a:cs typeface="+mn-cs"/>
                </a:rPr>
                <a:t>20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chemeClr val="bg1"/>
                  </a:solidFill>
                  <a:latin typeface="Arial" pitchFamily="34" charset="0"/>
                  <a:ea typeface="Batang" pitchFamily="18" charset="-127"/>
                  <a:cs typeface="+mn-cs"/>
                </a:rPr>
                <a:t>68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chemeClr val="bg1"/>
                  </a:solidFill>
                  <a:latin typeface="Arial" pitchFamily="34" charset="0"/>
                  <a:ea typeface="Batang" pitchFamily="18" charset="-127"/>
                  <a:cs typeface="+mn-cs"/>
                </a:rPr>
                <a:t>108</a:t>
              </a:r>
            </a:p>
          </p:txBody>
        </p:sp>
        <p:sp>
          <p:nvSpPr>
            <p:cNvPr id="16" name="Rectangle 79"/>
            <p:cNvSpPr>
              <a:spLocks noChangeArrowheads="1"/>
            </p:cNvSpPr>
            <p:nvPr userDrawn="1"/>
          </p:nvSpPr>
          <p:spPr bwMode="gray">
            <a:xfrm rot="-5400000">
              <a:off x="-360" y="2329"/>
              <a:ext cx="275" cy="254"/>
            </a:xfrm>
            <a:prstGeom prst="rect">
              <a:avLst/>
            </a:prstGeom>
            <a:solidFill>
              <a:srgbClr val="4095DC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algn="ctr">
                <a:defRPr/>
              </a:pPr>
              <a:r>
                <a:rPr lang="en-GB" sz="800" b="0" dirty="0">
                  <a:solidFill>
                    <a:schemeClr val="bg1"/>
                  </a:solidFill>
                  <a:latin typeface="Arial" pitchFamily="34" charset="0"/>
                  <a:ea typeface="Batang" pitchFamily="18" charset="-127"/>
                  <a:cs typeface="+mn-cs"/>
                </a:rPr>
                <a:t>64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chemeClr val="bg1"/>
                  </a:solidFill>
                  <a:latin typeface="Arial" pitchFamily="34" charset="0"/>
                  <a:ea typeface="Batang" pitchFamily="18" charset="-127"/>
                  <a:cs typeface="+mn-cs"/>
                </a:rPr>
                <a:t>149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chemeClr val="bg1"/>
                  </a:solidFill>
                  <a:latin typeface="Arial" pitchFamily="34" charset="0"/>
                  <a:ea typeface="Batang" pitchFamily="18" charset="-127"/>
                  <a:cs typeface="+mn-cs"/>
                </a:rPr>
                <a:t>220</a:t>
              </a:r>
            </a:p>
          </p:txBody>
        </p:sp>
        <p:sp>
          <p:nvSpPr>
            <p:cNvPr id="17" name="Rectangle 80"/>
            <p:cNvSpPr>
              <a:spLocks noChangeArrowheads="1"/>
            </p:cNvSpPr>
            <p:nvPr userDrawn="1"/>
          </p:nvSpPr>
          <p:spPr bwMode="gray">
            <a:xfrm rot="-5400000">
              <a:off x="-359" y="1212"/>
              <a:ext cx="274" cy="25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algn="ctr">
                <a:defRPr/>
              </a:pPr>
              <a:r>
                <a:rPr lang="en-GB" sz="800" b="0" dirty="0">
                  <a:solidFill>
                    <a:schemeClr val="tx1"/>
                  </a:solidFill>
                  <a:latin typeface="Arial" pitchFamily="34" charset="0"/>
                  <a:ea typeface="Batang" pitchFamily="18" charset="-127"/>
                  <a:cs typeface="+mn-cs"/>
                </a:rPr>
                <a:t>226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chemeClr val="tx1"/>
                  </a:solidFill>
                  <a:latin typeface="Arial" pitchFamily="34" charset="0"/>
                  <a:ea typeface="Batang" pitchFamily="18" charset="-127"/>
                  <a:cs typeface="+mn-cs"/>
                </a:rPr>
                <a:t>229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chemeClr val="tx1"/>
                  </a:solidFill>
                  <a:latin typeface="Arial" pitchFamily="34" charset="0"/>
                  <a:ea typeface="Batang" pitchFamily="18" charset="-127"/>
                  <a:cs typeface="+mn-cs"/>
                </a:rPr>
                <a:t>234</a:t>
              </a:r>
            </a:p>
          </p:txBody>
        </p:sp>
        <p:sp>
          <p:nvSpPr>
            <p:cNvPr id="18" name="Rectangle 81"/>
            <p:cNvSpPr>
              <a:spLocks noChangeArrowheads="1"/>
            </p:cNvSpPr>
            <p:nvPr userDrawn="1"/>
          </p:nvSpPr>
          <p:spPr bwMode="gray">
            <a:xfrm rot="-5400000">
              <a:off x="-359" y="469"/>
              <a:ext cx="274" cy="25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algn="ctr">
                <a:defRPr/>
              </a:pPr>
              <a:r>
                <a:rPr lang="en-GB" sz="800" b="0" dirty="0">
                  <a:solidFill>
                    <a:schemeClr val="tx1"/>
                  </a:solidFill>
                  <a:latin typeface="Arial" pitchFamily="34" charset="0"/>
                  <a:ea typeface="Batang" pitchFamily="18" charset="-127"/>
                  <a:cs typeface="+mn-cs"/>
                </a:rPr>
                <a:t>204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chemeClr val="tx1"/>
                  </a:solidFill>
                  <a:latin typeface="Arial" pitchFamily="34" charset="0"/>
                  <a:ea typeface="Batang" pitchFamily="18" charset="-127"/>
                  <a:cs typeface="+mn-cs"/>
                </a:rPr>
                <a:t>221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chemeClr val="tx1"/>
                  </a:solidFill>
                  <a:latin typeface="Arial" pitchFamily="34" charset="0"/>
                  <a:ea typeface="Batang" pitchFamily="18" charset="-127"/>
                  <a:cs typeface="+mn-cs"/>
                </a:rPr>
                <a:t>237</a:t>
              </a:r>
            </a:p>
          </p:txBody>
        </p:sp>
        <p:sp>
          <p:nvSpPr>
            <p:cNvPr id="19" name="Rectangle 82"/>
            <p:cNvSpPr>
              <a:spLocks noChangeArrowheads="1"/>
            </p:cNvSpPr>
            <p:nvPr userDrawn="1"/>
          </p:nvSpPr>
          <p:spPr bwMode="gray">
            <a:xfrm rot="-5400000">
              <a:off x="-360" y="2701"/>
              <a:ext cx="275" cy="254"/>
            </a:xfrm>
            <a:prstGeom prst="rect">
              <a:avLst/>
            </a:prstGeom>
            <a:solidFill>
              <a:srgbClr val="F8CDA2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algn="ctr">
                <a:defRPr/>
              </a:pPr>
              <a:r>
                <a:rPr lang="en-GB" sz="800" b="0" dirty="0">
                  <a:solidFill>
                    <a:srgbClr val="000000"/>
                  </a:solidFill>
                  <a:latin typeface="Arial" pitchFamily="34" charset="0"/>
                  <a:ea typeface="Batang" pitchFamily="18" charset="-127"/>
                  <a:cs typeface="+mn-cs"/>
                </a:rPr>
                <a:t>248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rgbClr val="000000"/>
                  </a:solidFill>
                  <a:latin typeface="Arial" pitchFamily="34" charset="0"/>
                  <a:ea typeface="Batang" pitchFamily="18" charset="-127"/>
                  <a:cs typeface="+mn-cs"/>
                </a:rPr>
                <a:t>205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rgbClr val="000000"/>
                  </a:solidFill>
                  <a:latin typeface="Arial" pitchFamily="34" charset="0"/>
                  <a:ea typeface="Batang" pitchFamily="18" charset="-127"/>
                  <a:cs typeface="+mn-cs"/>
                </a:rPr>
                <a:t>162</a:t>
              </a:r>
            </a:p>
          </p:txBody>
        </p:sp>
        <p:sp>
          <p:nvSpPr>
            <p:cNvPr id="20" name="Rectangle 83"/>
            <p:cNvSpPr>
              <a:spLocks noChangeArrowheads="1"/>
            </p:cNvSpPr>
            <p:nvPr userDrawn="1"/>
          </p:nvSpPr>
          <p:spPr bwMode="gray">
            <a:xfrm rot="-5400000">
              <a:off x="-359" y="839"/>
              <a:ext cx="275" cy="254"/>
            </a:xfrm>
            <a:prstGeom prst="rect">
              <a:avLst/>
            </a:prstGeom>
            <a:solidFill>
              <a:schemeClr val="folHlink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algn="ctr">
                <a:defRPr/>
              </a:pPr>
              <a:r>
                <a:rPr lang="en-GB" sz="800" b="0" dirty="0">
                  <a:solidFill>
                    <a:schemeClr val="tx1"/>
                  </a:solidFill>
                  <a:latin typeface="Arial" pitchFamily="34" charset="0"/>
                  <a:ea typeface="Batang" pitchFamily="18" charset="-127"/>
                  <a:cs typeface="+mn-cs"/>
                </a:rPr>
                <a:t>240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chemeClr val="tx1"/>
                  </a:solidFill>
                  <a:latin typeface="Arial" pitchFamily="34" charset="0"/>
                  <a:ea typeface="Batang" pitchFamily="18" charset="-127"/>
                  <a:cs typeface="+mn-cs"/>
                </a:rPr>
                <a:t>146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chemeClr val="tx1"/>
                  </a:solidFill>
                  <a:latin typeface="Arial" pitchFamily="34" charset="0"/>
                  <a:ea typeface="Batang" pitchFamily="18" charset="-127"/>
                  <a:cs typeface="+mn-cs"/>
                </a:rPr>
                <a:t>48</a:t>
              </a:r>
            </a:p>
          </p:txBody>
        </p:sp>
        <p:sp>
          <p:nvSpPr>
            <p:cNvPr id="21" name="Rectangle 84"/>
            <p:cNvSpPr>
              <a:spLocks noChangeArrowheads="1"/>
            </p:cNvSpPr>
            <p:nvPr userDrawn="1"/>
          </p:nvSpPr>
          <p:spPr bwMode="gray">
            <a:xfrm rot="-5400000">
              <a:off x="-359" y="1956"/>
              <a:ext cx="274" cy="254"/>
            </a:xfrm>
            <a:prstGeom prst="rect">
              <a:avLst/>
            </a:prstGeom>
            <a:solidFill>
              <a:srgbClr val="A6AFBE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algn="ctr">
                <a:defRPr/>
              </a:pPr>
              <a:r>
                <a:rPr lang="en-GB" sz="800" b="0" dirty="0">
                  <a:solidFill>
                    <a:schemeClr val="tx1"/>
                  </a:solidFill>
                  <a:latin typeface="Arial" pitchFamily="34" charset="0"/>
                  <a:ea typeface="Batang" pitchFamily="18" charset="-127"/>
                  <a:cs typeface="+mn-cs"/>
                </a:rPr>
                <a:t>166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chemeClr val="tx1"/>
                  </a:solidFill>
                  <a:latin typeface="Arial" pitchFamily="34" charset="0"/>
                  <a:ea typeface="Batang" pitchFamily="18" charset="-127"/>
                  <a:cs typeface="+mn-cs"/>
                </a:rPr>
                <a:t>175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chemeClr val="tx1"/>
                  </a:solidFill>
                  <a:latin typeface="Arial" pitchFamily="34" charset="0"/>
                  <a:ea typeface="Batang" pitchFamily="18" charset="-127"/>
                  <a:cs typeface="+mn-cs"/>
                </a:rPr>
                <a:t>190</a:t>
              </a:r>
            </a:p>
          </p:txBody>
        </p:sp>
        <p:sp>
          <p:nvSpPr>
            <p:cNvPr id="22" name="Rectangle 85"/>
            <p:cNvSpPr>
              <a:spLocks noChangeArrowheads="1"/>
            </p:cNvSpPr>
            <p:nvPr userDrawn="1"/>
          </p:nvSpPr>
          <p:spPr bwMode="gray">
            <a:xfrm rot="-5400000">
              <a:off x="-359" y="3072"/>
              <a:ext cx="274" cy="254"/>
            </a:xfrm>
            <a:prstGeom prst="rect">
              <a:avLst/>
            </a:prstGeom>
            <a:solidFill>
              <a:srgbClr val="E18E8B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algn="ctr">
                <a:defRPr/>
              </a:pPr>
              <a:r>
                <a:rPr lang="en-GB" sz="800" b="0" dirty="0">
                  <a:solidFill>
                    <a:schemeClr val="tx1"/>
                  </a:solidFill>
                  <a:latin typeface="Arial" pitchFamily="34" charset="0"/>
                  <a:ea typeface="Batang" pitchFamily="18" charset="-127"/>
                  <a:cs typeface="+mn-cs"/>
                </a:rPr>
                <a:t>225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chemeClr val="tx1"/>
                  </a:solidFill>
                  <a:latin typeface="Arial" pitchFamily="34" charset="0"/>
                  <a:ea typeface="Batang" pitchFamily="18" charset="-127"/>
                  <a:cs typeface="+mn-cs"/>
                </a:rPr>
                <a:t>142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chemeClr val="tx1"/>
                  </a:solidFill>
                  <a:latin typeface="Arial" pitchFamily="34" charset="0"/>
                  <a:ea typeface="Batang" pitchFamily="18" charset="-127"/>
                  <a:cs typeface="+mn-cs"/>
                </a:rPr>
                <a:t>139</a:t>
              </a:r>
            </a:p>
          </p:txBody>
        </p:sp>
        <p:sp>
          <p:nvSpPr>
            <p:cNvPr id="23" name="Rectangle 86"/>
            <p:cNvSpPr>
              <a:spLocks noChangeArrowheads="1"/>
            </p:cNvSpPr>
            <p:nvPr userDrawn="1"/>
          </p:nvSpPr>
          <p:spPr bwMode="gray">
            <a:xfrm rot="-5400000">
              <a:off x="-359" y="1584"/>
              <a:ext cx="274" cy="254"/>
            </a:xfrm>
            <a:prstGeom prst="rect">
              <a:avLst/>
            </a:prstGeom>
            <a:solidFill>
              <a:srgbClr val="8BAED6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algn="ctr">
                <a:defRPr/>
              </a:pPr>
              <a:r>
                <a:rPr lang="en-GB" sz="800" b="0" dirty="0">
                  <a:solidFill>
                    <a:schemeClr val="tx1"/>
                  </a:solidFill>
                  <a:latin typeface="Arial" pitchFamily="34" charset="0"/>
                  <a:ea typeface="Batang" pitchFamily="18" charset="-127"/>
                  <a:cs typeface="+mn-cs"/>
                </a:rPr>
                <a:t>139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chemeClr val="tx1"/>
                  </a:solidFill>
                  <a:latin typeface="Arial" pitchFamily="34" charset="0"/>
                  <a:ea typeface="Batang" pitchFamily="18" charset="-127"/>
                  <a:cs typeface="+mn-cs"/>
                </a:rPr>
                <a:t>174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chemeClr val="tx1"/>
                  </a:solidFill>
                  <a:latin typeface="Arial" pitchFamily="34" charset="0"/>
                  <a:ea typeface="Batang" pitchFamily="18" charset="-127"/>
                  <a:cs typeface="+mn-cs"/>
                </a:rPr>
                <a:t>214</a:t>
              </a:r>
            </a:p>
          </p:txBody>
        </p:sp>
      </p:grpSp>
      <p:sp>
        <p:nvSpPr>
          <p:cNvPr id="1013762" name="Rectangle 2"/>
          <p:cNvSpPr>
            <a:spLocks noGrp="1" noChangeArrowheads="1"/>
          </p:cNvSpPr>
          <p:nvPr>
            <p:ph type="ctrTitle"/>
          </p:nvPr>
        </p:nvSpPr>
        <p:spPr bwMode="auto">
          <a:xfrm>
            <a:off x="582613" y="2679700"/>
            <a:ext cx="9036050" cy="1449388"/>
          </a:xfrm>
          <a:prstGeom prst="rect">
            <a:avLst/>
          </a:prstGeom>
        </p:spPr>
        <p:txBody>
          <a:bodyPr lIns="90569" tIns="45301" rIns="90569" bIns="45301"/>
          <a:lstStyle>
            <a:lvl1pPr algn="r">
              <a:defRPr sz="40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01376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746381" y="4268788"/>
            <a:ext cx="6850063" cy="868362"/>
          </a:xfrm>
          <a:prstGeom prst="rect">
            <a:avLst/>
          </a:prstGeom>
        </p:spPr>
        <p:txBody>
          <a:bodyPr lIns="90569" rIns="90569"/>
          <a:lstStyle>
            <a:lvl1pPr algn="r">
              <a:defRPr sz="2000"/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27" name="PAGE NUMBER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>
          <a:xfrm>
            <a:off x="0" y="7026555"/>
            <a:ext cx="572697" cy="425450"/>
          </a:xfrm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>
              <a:defRPr/>
            </a:pPr>
            <a:fld id="{A6B06EC4-1553-4EEC-8AFC-5F4512671736}" type="slidenum">
              <a:rPr lang="ru-RU" smtClean="0"/>
              <a:pPr algn="ctr">
                <a:defRPr/>
              </a:pPr>
              <a:t>‹#›</a:t>
            </a:fld>
            <a:endParaRPr lang="en-GB" altLang="zh-TW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текст картинка справа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hape 21"/>
          <p:cNvSpPr>
            <a:spLocks noGrp="1"/>
          </p:cNvSpPr>
          <p:nvPr>
            <p:ph type="title"/>
          </p:nvPr>
        </p:nvSpPr>
        <p:spPr>
          <a:xfrm>
            <a:off x="591980" y="709576"/>
            <a:ext cx="8890159" cy="100289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228" cap="all">
                <a:solidFill>
                  <a:schemeClr val="accent1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3" name="Shape 23"/>
          <p:cNvSpPr>
            <a:spLocks noGrp="1"/>
          </p:cNvSpPr>
          <p:nvPr>
            <p:ph type="body" sz="quarter" idx="1"/>
          </p:nvPr>
        </p:nvSpPr>
        <p:spPr>
          <a:xfrm>
            <a:off x="602460" y="1999460"/>
            <a:ext cx="4426744" cy="10595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SzTx/>
              <a:buFontTx/>
              <a:buNone/>
              <a:defRPr sz="1073">
                <a:solidFill>
                  <a:schemeClr val="accent5"/>
                </a:solidFill>
              </a:defRPr>
            </a:lvl1pPr>
            <a:lvl2pPr marL="486642" indent="-109452">
              <a:spcBef>
                <a:spcPts val="0"/>
              </a:spcBef>
              <a:buFontTx/>
              <a:defRPr sz="1073">
                <a:solidFill>
                  <a:schemeClr val="accent5"/>
                </a:solidFill>
              </a:defRPr>
            </a:lvl2pPr>
            <a:lvl3pPr marL="856536" indent="-102156">
              <a:spcBef>
                <a:spcPts val="0"/>
              </a:spcBef>
              <a:buFontTx/>
              <a:defRPr sz="1073">
                <a:solidFill>
                  <a:schemeClr val="accent5"/>
                </a:solidFill>
              </a:defRPr>
            </a:lvl3pPr>
            <a:lvl4pPr marL="1254156" indent="-122586">
              <a:spcBef>
                <a:spcPts val="0"/>
              </a:spcBef>
              <a:buFontTx/>
              <a:defRPr sz="1073">
                <a:solidFill>
                  <a:schemeClr val="accent5"/>
                </a:solidFill>
              </a:defRPr>
            </a:lvl4pPr>
            <a:lvl5pPr marL="1631346" indent="-122586">
              <a:spcBef>
                <a:spcPts val="0"/>
              </a:spcBef>
              <a:buFontTx/>
              <a:defRPr sz="1073">
                <a:solidFill>
                  <a:schemeClr val="accent5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4" name="Shape 24"/>
          <p:cNvSpPr>
            <a:spLocks noGrp="1"/>
          </p:cNvSpPr>
          <p:nvPr>
            <p:ph type="body" sz="quarter" idx="13"/>
          </p:nvPr>
        </p:nvSpPr>
        <p:spPr>
          <a:xfrm>
            <a:off x="612935" y="3385979"/>
            <a:ext cx="4416268" cy="2692719"/>
          </a:xfrm>
          <a:prstGeom prst="rect">
            <a:avLst/>
          </a:prstGeom>
        </p:spPr>
        <p:txBody>
          <a:bodyPr lIns="0" tIns="0" rIns="0" bIns="0"/>
          <a:lstStyle>
            <a:lvl1pPr marL="148500" indent="-148500">
              <a:spcBef>
                <a:spcPts val="0"/>
              </a:spcBef>
              <a:buSzPct val="120000"/>
              <a:tabLst>
                <a:tab pos="220028" algn="l"/>
              </a:tabLst>
              <a:defRPr sz="1320"/>
            </a:lvl1pPr>
          </a:lstStyle>
          <a:p>
            <a:endParaRPr/>
          </a:p>
        </p:txBody>
      </p:sp>
      <p:sp>
        <p:nvSpPr>
          <p:cNvPr id="5" name="Shape 2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C3F8BBD-04E2-4E24-A3D5-11A7B3240E17}" type="slidenum">
              <a:rPr/>
              <a:pPr>
                <a:defRPr/>
              </a:pPr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67541834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67396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0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42900" y="1790700"/>
            <a:ext cx="9275763" cy="47212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342900" y="375028"/>
            <a:ext cx="9275763" cy="896938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cxnSp>
        <p:nvCxnSpPr>
          <p:cNvPr id="7" name="Прямая соединительная линия 6"/>
          <p:cNvCxnSpPr/>
          <p:nvPr userDrawn="1"/>
        </p:nvCxnSpPr>
        <p:spPr bwMode="auto">
          <a:xfrm>
            <a:off x="342900" y="949229"/>
            <a:ext cx="9275763" cy="0"/>
          </a:xfrm>
          <a:prstGeom prst="line">
            <a:avLst/>
          </a:prstGeom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PAGE NUMBER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>
          <a:xfrm>
            <a:off x="0" y="7026555"/>
            <a:ext cx="572697" cy="425450"/>
          </a:xfrm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>
              <a:defRPr/>
            </a:pPr>
            <a:fld id="{A6B06EC4-1553-4EEC-8AFC-5F4512671736}" type="slidenum">
              <a:rPr lang="ru-RU" smtClean="0"/>
              <a:pPr algn="ctr">
                <a:defRPr/>
              </a:pPr>
              <a:t>‹#›</a:t>
            </a:fld>
            <a:endParaRPr lang="en-GB" altLang="zh-TW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28098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4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2900" y="383985"/>
            <a:ext cx="9275763" cy="89693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342901" y="1790804"/>
            <a:ext cx="4606925" cy="472122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102252" y="1790804"/>
            <a:ext cx="4608513" cy="472122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cxnSp>
        <p:nvCxnSpPr>
          <p:cNvPr id="9" name="Прямая соединительная линия 8"/>
          <p:cNvCxnSpPr/>
          <p:nvPr userDrawn="1"/>
        </p:nvCxnSpPr>
        <p:spPr bwMode="auto">
          <a:xfrm>
            <a:off x="342900" y="967159"/>
            <a:ext cx="9275763" cy="0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PAGE NUMBER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>
          <a:xfrm>
            <a:off x="0" y="7026555"/>
            <a:ext cx="572697" cy="425450"/>
          </a:xfrm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>
              <a:defRPr/>
            </a:pPr>
            <a:fld id="{A6B06EC4-1553-4EEC-8AFC-5F4512671736}" type="slidenum">
              <a:rPr lang="ru-RU" smtClean="0"/>
              <a:pPr algn="ctr">
                <a:defRPr/>
              </a:pPr>
              <a:t>‹#›</a:t>
            </a:fld>
            <a:endParaRPr lang="en-GB" altLang="zh-TW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19710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8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2900" y="383991"/>
            <a:ext cx="9275763" cy="896938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cxnSp>
        <p:nvCxnSpPr>
          <p:cNvPr id="7" name="Прямая соединительная линия 6"/>
          <p:cNvCxnSpPr/>
          <p:nvPr userDrawn="1"/>
        </p:nvCxnSpPr>
        <p:spPr bwMode="auto">
          <a:xfrm>
            <a:off x="342900" y="967159"/>
            <a:ext cx="9275763" cy="0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PAGE NUMBER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>
          <a:xfrm>
            <a:off x="0" y="7026555"/>
            <a:ext cx="572697" cy="425450"/>
          </a:xfrm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>
              <a:defRPr/>
            </a:pPr>
            <a:fld id="{A6B06EC4-1553-4EEC-8AFC-5F4512671736}" type="slidenum">
              <a:rPr lang="ru-RU" smtClean="0"/>
              <a:pPr algn="ctr">
                <a:defRPr/>
              </a:pPr>
              <a:t>‹#›</a:t>
            </a:fld>
            <a:endParaRPr lang="en-GB" altLang="zh-TW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40608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2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342900" y="383991"/>
            <a:ext cx="9275763" cy="896938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cxnSp>
        <p:nvCxnSpPr>
          <p:cNvPr id="7" name="Прямая соединительная линия 6"/>
          <p:cNvCxnSpPr/>
          <p:nvPr userDrawn="1"/>
        </p:nvCxnSpPr>
        <p:spPr bwMode="auto">
          <a:xfrm>
            <a:off x="342900" y="967159"/>
            <a:ext cx="9275763" cy="0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PAGE NUMBER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>
          <a:xfrm>
            <a:off x="0" y="7026555"/>
            <a:ext cx="572697" cy="425450"/>
          </a:xfrm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>
              <a:defRPr/>
            </a:pPr>
            <a:fld id="{A6B06EC4-1553-4EEC-8AFC-5F4512671736}" type="slidenum">
              <a:rPr lang="ru-RU" smtClean="0"/>
              <a:pPr algn="ctr">
                <a:defRPr/>
              </a:pPr>
              <a:t>‹#›</a:t>
            </a:fld>
            <a:endParaRPr lang="en-GB" altLang="zh-TW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87016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6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Содержимое 2"/>
          <p:cNvSpPr>
            <a:spLocks noGrp="1"/>
          </p:cNvSpPr>
          <p:nvPr>
            <p:ph sz="quarter" idx="1"/>
          </p:nvPr>
        </p:nvSpPr>
        <p:spPr>
          <a:xfrm>
            <a:off x="342901" y="1790805"/>
            <a:ext cx="4606925" cy="228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5102252" y="1790805"/>
            <a:ext cx="4608513" cy="2284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342901" y="4227513"/>
            <a:ext cx="4606925" cy="22844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102252" y="4227513"/>
            <a:ext cx="4608513" cy="22844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342900" y="383991"/>
            <a:ext cx="9275763" cy="896938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cxnSp>
        <p:nvCxnSpPr>
          <p:cNvPr id="11" name="Прямая соединительная линия 10"/>
          <p:cNvCxnSpPr/>
          <p:nvPr userDrawn="1"/>
        </p:nvCxnSpPr>
        <p:spPr bwMode="auto">
          <a:xfrm>
            <a:off x="342900" y="967159"/>
            <a:ext cx="9275763" cy="0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PAGE NUMBER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>
          <a:xfrm>
            <a:off x="0" y="7026555"/>
            <a:ext cx="572697" cy="425450"/>
          </a:xfrm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>
              <a:defRPr/>
            </a:pPr>
            <a:fld id="{A6B06EC4-1553-4EEC-8AFC-5F4512671736}" type="slidenum">
              <a:rPr lang="ru-RU" smtClean="0"/>
              <a:pPr algn="ctr">
                <a:defRPr/>
              </a:pPr>
              <a:t>‹#›</a:t>
            </a:fld>
            <a:endParaRPr lang="en-GB" altLang="zh-TW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35480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0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342900" y="1790804"/>
            <a:ext cx="9367838" cy="4721225"/>
          </a:xfrm>
          <a:prstGeom prst="rect">
            <a:avLst/>
          </a:prstGeom>
        </p:spPr>
        <p:txBody>
          <a:bodyPr/>
          <a:lstStyle/>
          <a:p>
            <a:pPr lvl="0"/>
            <a:endParaRPr lang="ru-RU" noProof="0" dirty="0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342900" y="383991"/>
            <a:ext cx="9275763" cy="896938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cxnSp>
        <p:nvCxnSpPr>
          <p:cNvPr id="8" name="Прямая соединительная линия 7"/>
          <p:cNvCxnSpPr/>
          <p:nvPr userDrawn="1"/>
        </p:nvCxnSpPr>
        <p:spPr bwMode="auto">
          <a:xfrm>
            <a:off x="342900" y="967159"/>
            <a:ext cx="9275763" cy="0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PAGE NUMBER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>
          <a:xfrm>
            <a:off x="0" y="7026555"/>
            <a:ext cx="572697" cy="425450"/>
          </a:xfrm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>
              <a:defRPr/>
            </a:pPr>
            <a:fld id="{A6B06EC4-1553-4EEC-8AFC-5F4512671736}" type="slidenum">
              <a:rPr lang="ru-RU" smtClean="0"/>
              <a:pPr algn="ctr">
                <a:defRPr/>
              </a:pPr>
              <a:t>‹#›</a:t>
            </a:fld>
            <a:endParaRPr lang="en-GB" altLang="zh-TW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342900" y="383991"/>
            <a:ext cx="9275763" cy="896938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cxnSp>
        <p:nvCxnSpPr>
          <p:cNvPr id="5" name="Прямая соединительная линия 4"/>
          <p:cNvCxnSpPr/>
          <p:nvPr userDrawn="1"/>
        </p:nvCxnSpPr>
        <p:spPr bwMode="auto">
          <a:xfrm>
            <a:off x="342900" y="967159"/>
            <a:ext cx="9275763" cy="0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AGE NUMBER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0" y="7026555"/>
            <a:ext cx="572697" cy="425450"/>
          </a:xfrm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>
              <a:defRPr/>
            </a:pPr>
            <a:fld id="{A6B06EC4-1553-4EEC-8AFC-5F4512671736}" type="slidenum">
              <a:rPr lang="ru-RU" smtClean="0"/>
              <a:pPr algn="ctr">
                <a:defRPr/>
              </a:pPr>
              <a:t>‹#›</a:t>
            </a:fld>
            <a:endParaRPr lang="en-GB" altLang="zh-TW" dirty="0"/>
          </a:p>
        </p:txBody>
      </p:sp>
    </p:spTree>
    <p:extLst>
      <p:ext uri="{BB962C8B-B14F-4D97-AF65-F5344CB8AC3E}">
        <p14:creationId xmlns:p14="http://schemas.microsoft.com/office/powerpoint/2010/main" val="11295809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342900" y="383991"/>
            <a:ext cx="9275763" cy="896938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cxnSp>
        <p:nvCxnSpPr>
          <p:cNvPr id="5" name="Прямая соединительная линия 4"/>
          <p:cNvCxnSpPr/>
          <p:nvPr userDrawn="1"/>
        </p:nvCxnSpPr>
        <p:spPr bwMode="auto">
          <a:xfrm>
            <a:off x="342900" y="967159"/>
            <a:ext cx="9275763" cy="0"/>
          </a:xfrm>
          <a:prstGeom prst="line">
            <a:avLst/>
          </a:prstGeom>
          <a:ln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PAGE NUMBER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0" y="7026555"/>
            <a:ext cx="572697" cy="425450"/>
          </a:xfrm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>
              <a:defRPr/>
            </a:pPr>
            <a:fld id="{A6B06EC4-1553-4EEC-8AFC-5F4512671736}" type="slidenum">
              <a:rPr lang="ru-RU" smtClean="0"/>
              <a:pPr algn="ctr">
                <a:defRPr/>
              </a:pPr>
              <a:t>‹#›</a:t>
            </a:fld>
            <a:endParaRPr lang="en-GB" altLang="zh-TW" dirty="0"/>
          </a:p>
        </p:txBody>
      </p:sp>
    </p:spTree>
    <p:extLst>
      <p:ext uri="{BB962C8B-B14F-4D97-AF65-F5344CB8AC3E}">
        <p14:creationId xmlns:p14="http://schemas.microsoft.com/office/powerpoint/2010/main" val="3330546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0494269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2" name="Слайд think-cell" r:id="rId16" imgW="270" imgH="270" progId="TCLayout.ActiveDocument.1">
                  <p:embed/>
                </p:oleObj>
              </mc:Choice>
              <mc:Fallback>
                <p:oleObj name="Слайд think-cell" r:id="rId16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3" name="Рисунок 32"/>
          <p:cNvPicPr>
            <a:picLocks noChangeAspect="1"/>
          </p:cNvPicPr>
          <p:nvPr userDrawn="1"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38" b="3890"/>
          <a:stretch/>
        </p:blipFill>
        <p:spPr>
          <a:xfrm>
            <a:off x="7142" y="1281953"/>
            <a:ext cx="10051257" cy="6230472"/>
          </a:xfrm>
          <a:prstGeom prst="rect">
            <a:avLst/>
          </a:prstGeom>
        </p:spPr>
      </p:pic>
      <p:sp>
        <p:nvSpPr>
          <p:cNvPr id="1012749" name="PAGE NUMBER"/>
          <p:cNvSpPr>
            <a:spLocks noGrp="1" noChangeArrowheads="1"/>
          </p:cNvSpPr>
          <p:nvPr>
            <p:ph type="sldNum" sz="quarter" idx="4"/>
            <p:custDataLst>
              <p:tags r:id="rId14"/>
            </p:custDataLst>
          </p:nvPr>
        </p:nvSpPr>
        <p:spPr bwMode="black">
          <a:xfrm>
            <a:off x="7142" y="7020935"/>
            <a:ext cx="412750" cy="42545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spcBef>
                <a:spcPct val="0"/>
              </a:spcBef>
              <a:defRPr sz="1100" b="0">
                <a:solidFill>
                  <a:schemeClr val="tx2"/>
                </a:solidFill>
                <a:latin typeface="Arial" pitchFamily="34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>
              <a:defRPr/>
            </a:pPr>
            <a:r>
              <a:rPr lang="en-GB" altLang="zh-TW" dirty="0"/>
              <a:t> </a:t>
            </a:r>
            <a:fld id="{AC2CF52D-F9E0-495D-B83C-D554EBBABCB3}" type="slidenum">
              <a:rPr lang="en-GB" altLang="zh-TW"/>
              <a:pPr>
                <a:defRPr/>
              </a:pPr>
              <a:t>‹#›</a:t>
            </a:fld>
            <a:endParaRPr lang="en-GB" altLang="zh-TW" dirty="0"/>
          </a:p>
        </p:txBody>
      </p:sp>
      <p:grpSp>
        <p:nvGrpSpPr>
          <p:cNvPr id="1030" name="Group 97"/>
          <p:cNvGrpSpPr>
            <a:grpSpLocks/>
          </p:cNvGrpSpPr>
          <p:nvPr/>
        </p:nvGrpSpPr>
        <p:grpSpPr bwMode="auto">
          <a:xfrm>
            <a:off x="-1116013" y="379413"/>
            <a:ext cx="965200" cy="4916487"/>
            <a:chOff x="-703" y="239"/>
            <a:chExt cx="608" cy="3097"/>
          </a:xfrm>
        </p:grpSpPr>
        <p:sp>
          <p:nvSpPr>
            <p:cNvPr id="1035" name="LAYOUT HEADER"/>
            <p:cNvSpPr txBox="1">
              <a:spLocks noChangeArrowheads="1"/>
            </p:cNvSpPr>
            <p:nvPr userDrawn="1">
              <p:custDataLst>
                <p:tags r:id="rId15"/>
              </p:custDataLst>
            </p:nvPr>
          </p:nvSpPr>
          <p:spPr bwMode="auto">
            <a:xfrm>
              <a:off x="-703" y="239"/>
              <a:ext cx="599" cy="138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38100"/>
            <a:lstStyle>
              <a:lvl1pPr>
                <a:defRPr sz="1300" b="1">
                  <a:solidFill>
                    <a:srgbClr val="164463"/>
                  </a:solidFill>
                  <a:latin typeface="Arial" pitchFamily="34" charset="0"/>
                  <a:ea typeface="Batang" pitchFamily="18" charset="-127"/>
                </a:defRPr>
              </a:lvl1pPr>
              <a:lvl2pPr marL="742950" indent="-285750">
                <a:defRPr sz="1300" b="1">
                  <a:solidFill>
                    <a:srgbClr val="164463"/>
                  </a:solidFill>
                  <a:latin typeface="Arial" pitchFamily="34" charset="0"/>
                  <a:ea typeface="Batang" pitchFamily="18" charset="-127"/>
                </a:defRPr>
              </a:lvl2pPr>
              <a:lvl3pPr marL="1143000" indent="-228600">
                <a:defRPr sz="1300" b="1">
                  <a:solidFill>
                    <a:srgbClr val="164463"/>
                  </a:solidFill>
                  <a:latin typeface="Arial" pitchFamily="34" charset="0"/>
                  <a:ea typeface="Batang" pitchFamily="18" charset="-127"/>
                </a:defRPr>
              </a:lvl3pPr>
              <a:lvl4pPr marL="1600200" indent="-228600">
                <a:defRPr sz="1300" b="1">
                  <a:solidFill>
                    <a:srgbClr val="164463"/>
                  </a:solidFill>
                  <a:latin typeface="Arial" pitchFamily="34" charset="0"/>
                  <a:ea typeface="Batang" pitchFamily="18" charset="-127"/>
                </a:defRPr>
              </a:lvl4pPr>
              <a:lvl5pPr marL="2057400" indent="-228600">
                <a:defRPr sz="1300" b="1">
                  <a:solidFill>
                    <a:srgbClr val="164463"/>
                  </a:solidFill>
                  <a:latin typeface="Arial" pitchFamily="34" charset="0"/>
                  <a:ea typeface="Batang" pitchFamily="18" charset="-127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1300" b="1">
                  <a:solidFill>
                    <a:srgbClr val="164463"/>
                  </a:solidFill>
                  <a:latin typeface="Arial" pitchFamily="34" charset="0"/>
                  <a:ea typeface="Batang" pitchFamily="18" charset="-127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1300" b="1">
                  <a:solidFill>
                    <a:srgbClr val="164463"/>
                  </a:solidFill>
                  <a:latin typeface="Arial" pitchFamily="34" charset="0"/>
                  <a:ea typeface="Batang" pitchFamily="18" charset="-127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1300" b="1">
                  <a:solidFill>
                    <a:srgbClr val="164463"/>
                  </a:solidFill>
                  <a:latin typeface="Arial" pitchFamily="34" charset="0"/>
                  <a:ea typeface="Batang" pitchFamily="18" charset="-127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 sz="1300" b="1">
                  <a:solidFill>
                    <a:srgbClr val="164463"/>
                  </a:solidFill>
                  <a:latin typeface="Arial" pitchFamily="34" charset="0"/>
                  <a:ea typeface="Batang" pitchFamily="18" charset="-127"/>
                </a:defRPr>
              </a:lvl9pPr>
            </a:lstStyle>
            <a:p>
              <a:pPr eaLnBrk="0" hangingPunct="0">
                <a:spcBef>
                  <a:spcPct val="50000"/>
                </a:spcBef>
                <a:defRPr/>
              </a:pPr>
              <a:r>
                <a:rPr lang="en-GB" sz="1100" dirty="0">
                  <a:solidFill>
                    <a:schemeClr val="tx1"/>
                  </a:solidFill>
                  <a:ea typeface="Arial Unicode MS" pitchFamily="34" charset="-128"/>
                  <a:cs typeface="Arial Unicode MS" pitchFamily="34" charset="-128"/>
                </a:rPr>
                <a:t>Colour palette</a:t>
              </a:r>
            </a:p>
          </p:txBody>
        </p:sp>
        <p:sp>
          <p:nvSpPr>
            <p:cNvPr id="1036" name="Rectangle 75"/>
            <p:cNvSpPr>
              <a:spLocks noChangeArrowheads="1"/>
            </p:cNvSpPr>
            <p:nvPr userDrawn="1"/>
          </p:nvSpPr>
          <p:spPr bwMode="gray">
            <a:xfrm rot="-5400000">
              <a:off x="-714" y="2329"/>
              <a:ext cx="275" cy="254"/>
            </a:xfrm>
            <a:prstGeom prst="rect">
              <a:avLst/>
            </a:prstGeom>
            <a:solidFill>
              <a:srgbClr val="ECECEC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algn="ctr">
                <a:defRPr/>
              </a:pPr>
              <a:r>
                <a:rPr lang="en-GB" sz="800" b="0" dirty="0">
                  <a:solidFill>
                    <a:schemeClr val="tx1"/>
                  </a:solidFill>
                  <a:latin typeface="Arial" pitchFamily="34" charset="0"/>
                  <a:ea typeface="Batang" pitchFamily="18" charset="-127"/>
                  <a:cs typeface="+mn-cs"/>
                </a:rPr>
                <a:t>236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chemeClr val="tx1"/>
                  </a:solidFill>
                  <a:latin typeface="Arial" pitchFamily="34" charset="0"/>
                  <a:ea typeface="Batang" pitchFamily="18" charset="-127"/>
                  <a:cs typeface="+mn-cs"/>
                </a:rPr>
                <a:t>236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chemeClr val="tx1"/>
                  </a:solidFill>
                  <a:latin typeface="Arial" pitchFamily="34" charset="0"/>
                  <a:ea typeface="Batang" pitchFamily="18" charset="-127"/>
                  <a:cs typeface="+mn-cs"/>
                </a:rPr>
                <a:t>236</a:t>
              </a:r>
            </a:p>
          </p:txBody>
        </p:sp>
        <p:sp>
          <p:nvSpPr>
            <p:cNvPr id="1037" name="Rectangle 76"/>
            <p:cNvSpPr>
              <a:spLocks noChangeArrowheads="1"/>
            </p:cNvSpPr>
            <p:nvPr userDrawn="1"/>
          </p:nvSpPr>
          <p:spPr bwMode="gray">
            <a:xfrm rot="-5400000">
              <a:off x="-713" y="1212"/>
              <a:ext cx="274" cy="254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algn="ctr">
                <a:defRPr/>
              </a:pPr>
              <a:r>
                <a:rPr lang="en-GB" sz="800" b="0" dirty="0">
                  <a:solidFill>
                    <a:schemeClr val="bg1"/>
                  </a:solidFill>
                  <a:latin typeface="Arial" pitchFamily="34" charset="0"/>
                  <a:ea typeface="Batang" pitchFamily="18" charset="-127"/>
                  <a:cs typeface="+mn-cs"/>
                </a:rPr>
                <a:t>0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chemeClr val="bg1"/>
                  </a:solidFill>
                  <a:latin typeface="Arial" pitchFamily="34" charset="0"/>
                  <a:ea typeface="Batang" pitchFamily="18" charset="-127"/>
                  <a:cs typeface="+mn-cs"/>
                </a:rPr>
                <a:t>0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chemeClr val="bg1"/>
                  </a:solidFill>
                  <a:latin typeface="Arial" pitchFamily="34" charset="0"/>
                  <a:ea typeface="Batang" pitchFamily="18" charset="-127"/>
                  <a:cs typeface="+mn-cs"/>
                </a:rPr>
                <a:t>0</a:t>
              </a:r>
            </a:p>
          </p:txBody>
        </p:sp>
        <p:sp>
          <p:nvSpPr>
            <p:cNvPr id="1038" name="Rectangle 77"/>
            <p:cNvSpPr>
              <a:spLocks noChangeArrowheads="1"/>
            </p:cNvSpPr>
            <p:nvPr userDrawn="1"/>
          </p:nvSpPr>
          <p:spPr bwMode="gray">
            <a:xfrm rot="-5400000">
              <a:off x="-713" y="469"/>
              <a:ext cx="274" cy="25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algn="ctr">
                <a:defRPr/>
              </a:pPr>
              <a:r>
                <a:rPr lang="en-GB" sz="800" b="0" dirty="0">
                  <a:solidFill>
                    <a:schemeClr val="bg1"/>
                  </a:solidFill>
                  <a:latin typeface="Arial" pitchFamily="34" charset="0"/>
                  <a:ea typeface="Batang" pitchFamily="18" charset="-127"/>
                  <a:cs typeface="+mn-cs"/>
                </a:rPr>
                <a:t>35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chemeClr val="bg1"/>
                  </a:solidFill>
                  <a:latin typeface="Arial" pitchFamily="34" charset="0"/>
                  <a:ea typeface="Batang" pitchFamily="18" charset="-127"/>
                  <a:cs typeface="+mn-cs"/>
                </a:rPr>
                <a:t>108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chemeClr val="bg1"/>
                  </a:solidFill>
                  <a:latin typeface="Arial" pitchFamily="34" charset="0"/>
                  <a:ea typeface="Batang" pitchFamily="18" charset="-127"/>
                  <a:cs typeface="+mn-cs"/>
                </a:rPr>
                <a:t>176</a:t>
              </a:r>
            </a:p>
          </p:txBody>
        </p:sp>
        <p:sp>
          <p:nvSpPr>
            <p:cNvPr id="1039" name="Rectangle 78"/>
            <p:cNvSpPr>
              <a:spLocks noChangeArrowheads="1"/>
            </p:cNvSpPr>
            <p:nvPr userDrawn="1"/>
          </p:nvSpPr>
          <p:spPr bwMode="gray">
            <a:xfrm rot="-5400000">
              <a:off x="-714" y="2701"/>
              <a:ext cx="275" cy="254"/>
            </a:xfrm>
            <a:prstGeom prst="rect">
              <a:avLst/>
            </a:prstGeom>
            <a:solidFill>
              <a:srgbClr val="B5CEE5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algn="ctr">
                <a:defRPr/>
              </a:pPr>
              <a:r>
                <a:rPr lang="en-GB" sz="800" b="0" dirty="0">
                  <a:solidFill>
                    <a:srgbClr val="000000"/>
                  </a:solidFill>
                  <a:latin typeface="Arial" pitchFamily="34" charset="0"/>
                  <a:ea typeface="Batang" pitchFamily="18" charset="-127"/>
                  <a:cs typeface="+mn-cs"/>
                </a:rPr>
                <a:t>181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rgbClr val="000000"/>
                  </a:solidFill>
                  <a:latin typeface="Arial" pitchFamily="34" charset="0"/>
                  <a:ea typeface="Batang" pitchFamily="18" charset="-127"/>
                  <a:cs typeface="+mn-cs"/>
                </a:rPr>
                <a:t>206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rgbClr val="000000"/>
                  </a:solidFill>
                  <a:latin typeface="Arial" pitchFamily="34" charset="0"/>
                  <a:ea typeface="Batang" pitchFamily="18" charset="-127"/>
                  <a:cs typeface="+mn-cs"/>
                </a:rPr>
                <a:t>229</a:t>
              </a:r>
            </a:p>
          </p:txBody>
        </p:sp>
        <p:sp>
          <p:nvSpPr>
            <p:cNvPr id="1040" name="Rectangle 79"/>
            <p:cNvSpPr>
              <a:spLocks noChangeArrowheads="1"/>
            </p:cNvSpPr>
            <p:nvPr userDrawn="1"/>
          </p:nvSpPr>
          <p:spPr bwMode="gray">
            <a:xfrm rot="-5400000">
              <a:off x="-713" y="839"/>
              <a:ext cx="275" cy="254"/>
            </a:xfrm>
            <a:prstGeom prst="rect">
              <a:avLst/>
            </a:prstGeom>
            <a:solidFill>
              <a:schemeClr val="hlink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algn="ctr">
                <a:defRPr/>
              </a:pPr>
              <a:r>
                <a:rPr lang="en-GB" sz="800" b="0" dirty="0">
                  <a:solidFill>
                    <a:schemeClr val="bg1"/>
                  </a:solidFill>
                  <a:latin typeface="Arial" pitchFamily="34" charset="0"/>
                  <a:ea typeface="Batang" pitchFamily="18" charset="-127"/>
                  <a:cs typeface="+mn-cs"/>
                </a:rPr>
                <a:t>151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chemeClr val="bg1"/>
                  </a:solidFill>
                  <a:latin typeface="Arial" pitchFamily="34" charset="0"/>
                  <a:ea typeface="Batang" pitchFamily="18" charset="-127"/>
                  <a:cs typeface="+mn-cs"/>
                </a:rPr>
                <a:t>151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chemeClr val="bg1"/>
                  </a:solidFill>
                  <a:latin typeface="Arial" pitchFamily="34" charset="0"/>
                  <a:ea typeface="Batang" pitchFamily="18" charset="-127"/>
                  <a:cs typeface="+mn-cs"/>
                </a:rPr>
                <a:t>151</a:t>
              </a:r>
            </a:p>
          </p:txBody>
        </p:sp>
        <p:sp>
          <p:nvSpPr>
            <p:cNvPr id="1041" name="Rectangle 80"/>
            <p:cNvSpPr>
              <a:spLocks noChangeArrowheads="1"/>
            </p:cNvSpPr>
            <p:nvPr userDrawn="1"/>
          </p:nvSpPr>
          <p:spPr bwMode="gray">
            <a:xfrm rot="-5400000">
              <a:off x="-713" y="1956"/>
              <a:ext cx="274" cy="254"/>
            </a:xfrm>
            <a:prstGeom prst="rect">
              <a:avLst/>
            </a:prstGeom>
            <a:solidFill>
              <a:srgbClr val="D60500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algn="ctr">
                <a:defRPr/>
              </a:pPr>
              <a:r>
                <a:rPr lang="en-GB" sz="800" b="0" dirty="0">
                  <a:solidFill>
                    <a:schemeClr val="bg1"/>
                  </a:solidFill>
                  <a:latin typeface="Arial" pitchFamily="34" charset="0"/>
                  <a:ea typeface="Batang" pitchFamily="18" charset="-127"/>
                  <a:cs typeface="+mn-cs"/>
                </a:rPr>
                <a:t>214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chemeClr val="bg1"/>
                  </a:solidFill>
                  <a:latin typeface="Arial" pitchFamily="34" charset="0"/>
                  <a:ea typeface="Batang" pitchFamily="18" charset="-127"/>
                  <a:cs typeface="+mn-cs"/>
                </a:rPr>
                <a:t>5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chemeClr val="bg1"/>
                  </a:solidFill>
                  <a:latin typeface="Arial" pitchFamily="34" charset="0"/>
                  <a:ea typeface="Batang" pitchFamily="18" charset="-127"/>
                  <a:cs typeface="+mn-cs"/>
                </a:rPr>
                <a:t>0</a:t>
              </a:r>
            </a:p>
          </p:txBody>
        </p:sp>
        <p:sp>
          <p:nvSpPr>
            <p:cNvPr id="1042" name="Rectangle 81"/>
            <p:cNvSpPr>
              <a:spLocks noChangeArrowheads="1"/>
            </p:cNvSpPr>
            <p:nvPr userDrawn="1"/>
          </p:nvSpPr>
          <p:spPr bwMode="gray">
            <a:xfrm rot="-5400000">
              <a:off x="-713" y="3072"/>
              <a:ext cx="274" cy="254"/>
            </a:xfrm>
            <a:prstGeom prst="rect">
              <a:avLst/>
            </a:prstGeom>
            <a:solidFill>
              <a:srgbClr val="4981BF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algn="ctr">
                <a:defRPr/>
              </a:pPr>
              <a:r>
                <a:rPr lang="en-GB" sz="800" b="0" dirty="0">
                  <a:solidFill>
                    <a:schemeClr val="bg1"/>
                  </a:solidFill>
                  <a:latin typeface="Arial" pitchFamily="34" charset="0"/>
                  <a:ea typeface="Batang" pitchFamily="18" charset="-127"/>
                  <a:cs typeface="+mn-cs"/>
                </a:rPr>
                <a:t>73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chemeClr val="bg1"/>
                  </a:solidFill>
                  <a:latin typeface="Arial" pitchFamily="34" charset="0"/>
                  <a:ea typeface="Batang" pitchFamily="18" charset="-127"/>
                  <a:cs typeface="+mn-cs"/>
                </a:rPr>
                <a:t>129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chemeClr val="bg1"/>
                  </a:solidFill>
                  <a:latin typeface="Arial" pitchFamily="34" charset="0"/>
                  <a:ea typeface="Batang" pitchFamily="18" charset="-127"/>
                  <a:cs typeface="+mn-cs"/>
                </a:rPr>
                <a:t>191</a:t>
              </a:r>
            </a:p>
          </p:txBody>
        </p:sp>
        <p:sp>
          <p:nvSpPr>
            <p:cNvPr id="1043" name="Rectangle 82"/>
            <p:cNvSpPr>
              <a:spLocks noChangeArrowheads="1"/>
            </p:cNvSpPr>
            <p:nvPr userDrawn="1"/>
          </p:nvSpPr>
          <p:spPr bwMode="gray">
            <a:xfrm rot="-5400000">
              <a:off x="-713" y="1584"/>
              <a:ext cx="274" cy="25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algn="ctr">
                <a:defRPr/>
              </a:pPr>
              <a:r>
                <a:rPr lang="en-GB" sz="800" b="0" dirty="0">
                  <a:solidFill>
                    <a:schemeClr val="bg1"/>
                  </a:solidFill>
                  <a:latin typeface="Arial" pitchFamily="34" charset="0"/>
                  <a:ea typeface="Batang" pitchFamily="18" charset="-127"/>
                  <a:cs typeface="+mn-cs"/>
                </a:rPr>
                <a:t>20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chemeClr val="bg1"/>
                  </a:solidFill>
                  <a:latin typeface="Arial" pitchFamily="34" charset="0"/>
                  <a:ea typeface="Batang" pitchFamily="18" charset="-127"/>
                  <a:cs typeface="+mn-cs"/>
                </a:rPr>
                <a:t>68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chemeClr val="bg1"/>
                  </a:solidFill>
                  <a:latin typeface="Arial" pitchFamily="34" charset="0"/>
                  <a:ea typeface="Batang" pitchFamily="18" charset="-127"/>
                  <a:cs typeface="+mn-cs"/>
                </a:rPr>
                <a:t>108</a:t>
              </a:r>
            </a:p>
          </p:txBody>
        </p:sp>
        <p:sp>
          <p:nvSpPr>
            <p:cNvPr id="1044" name="Rectangle 83"/>
            <p:cNvSpPr>
              <a:spLocks noChangeArrowheads="1"/>
            </p:cNvSpPr>
            <p:nvPr userDrawn="1"/>
          </p:nvSpPr>
          <p:spPr bwMode="gray">
            <a:xfrm rot="-5400000">
              <a:off x="-360" y="2329"/>
              <a:ext cx="275" cy="254"/>
            </a:xfrm>
            <a:prstGeom prst="rect">
              <a:avLst/>
            </a:prstGeom>
            <a:solidFill>
              <a:srgbClr val="4095DC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algn="ctr">
                <a:defRPr/>
              </a:pPr>
              <a:r>
                <a:rPr lang="en-GB" sz="800" b="0" dirty="0">
                  <a:solidFill>
                    <a:schemeClr val="bg1"/>
                  </a:solidFill>
                  <a:latin typeface="Arial" pitchFamily="34" charset="0"/>
                  <a:ea typeface="Batang" pitchFamily="18" charset="-127"/>
                  <a:cs typeface="+mn-cs"/>
                </a:rPr>
                <a:t>64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chemeClr val="bg1"/>
                  </a:solidFill>
                  <a:latin typeface="Arial" pitchFamily="34" charset="0"/>
                  <a:ea typeface="Batang" pitchFamily="18" charset="-127"/>
                  <a:cs typeface="+mn-cs"/>
                </a:rPr>
                <a:t>149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chemeClr val="bg1"/>
                  </a:solidFill>
                  <a:latin typeface="Arial" pitchFamily="34" charset="0"/>
                  <a:ea typeface="Batang" pitchFamily="18" charset="-127"/>
                  <a:cs typeface="+mn-cs"/>
                </a:rPr>
                <a:t>220</a:t>
              </a:r>
            </a:p>
          </p:txBody>
        </p:sp>
        <p:sp>
          <p:nvSpPr>
            <p:cNvPr id="1045" name="Rectangle 84"/>
            <p:cNvSpPr>
              <a:spLocks noChangeArrowheads="1"/>
            </p:cNvSpPr>
            <p:nvPr userDrawn="1"/>
          </p:nvSpPr>
          <p:spPr bwMode="gray">
            <a:xfrm rot="-5400000">
              <a:off x="-359" y="1212"/>
              <a:ext cx="274" cy="25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algn="ctr">
                <a:defRPr/>
              </a:pPr>
              <a:r>
                <a:rPr lang="en-GB" sz="800" b="0" dirty="0">
                  <a:solidFill>
                    <a:schemeClr val="tx1"/>
                  </a:solidFill>
                  <a:latin typeface="Arial" pitchFamily="34" charset="0"/>
                  <a:ea typeface="Batang" pitchFamily="18" charset="-127"/>
                  <a:cs typeface="+mn-cs"/>
                </a:rPr>
                <a:t>226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chemeClr val="tx1"/>
                  </a:solidFill>
                  <a:latin typeface="Arial" pitchFamily="34" charset="0"/>
                  <a:ea typeface="Batang" pitchFamily="18" charset="-127"/>
                  <a:cs typeface="+mn-cs"/>
                </a:rPr>
                <a:t>229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chemeClr val="tx1"/>
                  </a:solidFill>
                  <a:latin typeface="Arial" pitchFamily="34" charset="0"/>
                  <a:ea typeface="Batang" pitchFamily="18" charset="-127"/>
                  <a:cs typeface="+mn-cs"/>
                </a:rPr>
                <a:t>234</a:t>
              </a:r>
            </a:p>
          </p:txBody>
        </p:sp>
        <p:sp>
          <p:nvSpPr>
            <p:cNvPr id="1046" name="Rectangle 85"/>
            <p:cNvSpPr>
              <a:spLocks noChangeArrowheads="1"/>
            </p:cNvSpPr>
            <p:nvPr userDrawn="1"/>
          </p:nvSpPr>
          <p:spPr bwMode="gray">
            <a:xfrm rot="-5400000">
              <a:off x="-359" y="469"/>
              <a:ext cx="274" cy="25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algn="ctr">
                <a:defRPr/>
              </a:pPr>
              <a:r>
                <a:rPr lang="en-GB" sz="800" b="0" dirty="0">
                  <a:solidFill>
                    <a:schemeClr val="tx1"/>
                  </a:solidFill>
                  <a:latin typeface="Arial" pitchFamily="34" charset="0"/>
                  <a:ea typeface="Batang" pitchFamily="18" charset="-127"/>
                  <a:cs typeface="+mn-cs"/>
                </a:rPr>
                <a:t>204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chemeClr val="tx1"/>
                  </a:solidFill>
                  <a:latin typeface="Arial" pitchFamily="34" charset="0"/>
                  <a:ea typeface="Batang" pitchFamily="18" charset="-127"/>
                  <a:cs typeface="+mn-cs"/>
                </a:rPr>
                <a:t>221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chemeClr val="tx1"/>
                  </a:solidFill>
                  <a:latin typeface="Arial" pitchFamily="34" charset="0"/>
                  <a:ea typeface="Batang" pitchFamily="18" charset="-127"/>
                  <a:cs typeface="+mn-cs"/>
                </a:rPr>
                <a:t>237</a:t>
              </a:r>
            </a:p>
          </p:txBody>
        </p:sp>
        <p:sp>
          <p:nvSpPr>
            <p:cNvPr id="1047" name="Rectangle 86"/>
            <p:cNvSpPr>
              <a:spLocks noChangeArrowheads="1"/>
            </p:cNvSpPr>
            <p:nvPr userDrawn="1"/>
          </p:nvSpPr>
          <p:spPr bwMode="gray">
            <a:xfrm rot="-5400000">
              <a:off x="-360" y="2701"/>
              <a:ext cx="275" cy="254"/>
            </a:xfrm>
            <a:prstGeom prst="rect">
              <a:avLst/>
            </a:prstGeom>
            <a:solidFill>
              <a:srgbClr val="F8CDA2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algn="ctr">
                <a:defRPr/>
              </a:pPr>
              <a:r>
                <a:rPr lang="en-GB" sz="800" b="0" dirty="0">
                  <a:solidFill>
                    <a:srgbClr val="000000"/>
                  </a:solidFill>
                  <a:latin typeface="Arial" pitchFamily="34" charset="0"/>
                  <a:ea typeface="Batang" pitchFamily="18" charset="-127"/>
                  <a:cs typeface="+mn-cs"/>
                </a:rPr>
                <a:t>248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rgbClr val="000000"/>
                  </a:solidFill>
                  <a:latin typeface="Arial" pitchFamily="34" charset="0"/>
                  <a:ea typeface="Batang" pitchFamily="18" charset="-127"/>
                  <a:cs typeface="+mn-cs"/>
                </a:rPr>
                <a:t>205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rgbClr val="000000"/>
                  </a:solidFill>
                  <a:latin typeface="Arial" pitchFamily="34" charset="0"/>
                  <a:ea typeface="Batang" pitchFamily="18" charset="-127"/>
                  <a:cs typeface="+mn-cs"/>
                </a:rPr>
                <a:t>162</a:t>
              </a:r>
            </a:p>
          </p:txBody>
        </p:sp>
        <p:sp>
          <p:nvSpPr>
            <p:cNvPr id="1048" name="Rectangle 87"/>
            <p:cNvSpPr>
              <a:spLocks noChangeArrowheads="1"/>
            </p:cNvSpPr>
            <p:nvPr userDrawn="1"/>
          </p:nvSpPr>
          <p:spPr bwMode="gray">
            <a:xfrm rot="-5400000">
              <a:off x="-359" y="839"/>
              <a:ext cx="275" cy="254"/>
            </a:xfrm>
            <a:prstGeom prst="rect">
              <a:avLst/>
            </a:prstGeom>
            <a:solidFill>
              <a:schemeClr val="folHlink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algn="ctr">
                <a:defRPr/>
              </a:pPr>
              <a:r>
                <a:rPr lang="en-GB" sz="800" b="0" dirty="0">
                  <a:solidFill>
                    <a:schemeClr val="tx1"/>
                  </a:solidFill>
                  <a:latin typeface="Arial" pitchFamily="34" charset="0"/>
                  <a:ea typeface="Batang" pitchFamily="18" charset="-127"/>
                  <a:cs typeface="+mn-cs"/>
                </a:rPr>
                <a:t>240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chemeClr val="tx1"/>
                  </a:solidFill>
                  <a:latin typeface="Arial" pitchFamily="34" charset="0"/>
                  <a:ea typeface="Batang" pitchFamily="18" charset="-127"/>
                  <a:cs typeface="+mn-cs"/>
                </a:rPr>
                <a:t>146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chemeClr val="tx1"/>
                  </a:solidFill>
                  <a:latin typeface="Arial" pitchFamily="34" charset="0"/>
                  <a:ea typeface="Batang" pitchFamily="18" charset="-127"/>
                  <a:cs typeface="+mn-cs"/>
                </a:rPr>
                <a:t>48</a:t>
              </a:r>
            </a:p>
          </p:txBody>
        </p:sp>
        <p:sp>
          <p:nvSpPr>
            <p:cNvPr id="1049" name="Rectangle 88"/>
            <p:cNvSpPr>
              <a:spLocks noChangeArrowheads="1"/>
            </p:cNvSpPr>
            <p:nvPr userDrawn="1"/>
          </p:nvSpPr>
          <p:spPr bwMode="gray">
            <a:xfrm rot="-5400000">
              <a:off x="-359" y="1956"/>
              <a:ext cx="274" cy="254"/>
            </a:xfrm>
            <a:prstGeom prst="rect">
              <a:avLst/>
            </a:prstGeom>
            <a:solidFill>
              <a:srgbClr val="A6AFBE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algn="ctr">
                <a:defRPr/>
              </a:pPr>
              <a:r>
                <a:rPr lang="en-GB" sz="800" b="0" dirty="0">
                  <a:solidFill>
                    <a:schemeClr val="tx1"/>
                  </a:solidFill>
                  <a:latin typeface="Arial" pitchFamily="34" charset="0"/>
                  <a:ea typeface="Batang" pitchFamily="18" charset="-127"/>
                  <a:cs typeface="+mn-cs"/>
                </a:rPr>
                <a:t>166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chemeClr val="tx1"/>
                  </a:solidFill>
                  <a:latin typeface="Arial" pitchFamily="34" charset="0"/>
                  <a:ea typeface="Batang" pitchFamily="18" charset="-127"/>
                  <a:cs typeface="+mn-cs"/>
                </a:rPr>
                <a:t>175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chemeClr val="tx1"/>
                  </a:solidFill>
                  <a:latin typeface="Arial" pitchFamily="34" charset="0"/>
                  <a:ea typeface="Batang" pitchFamily="18" charset="-127"/>
                  <a:cs typeface="+mn-cs"/>
                </a:rPr>
                <a:t>190</a:t>
              </a:r>
            </a:p>
          </p:txBody>
        </p:sp>
        <p:sp>
          <p:nvSpPr>
            <p:cNvPr id="1050" name="Rectangle 89"/>
            <p:cNvSpPr>
              <a:spLocks noChangeArrowheads="1"/>
            </p:cNvSpPr>
            <p:nvPr userDrawn="1"/>
          </p:nvSpPr>
          <p:spPr bwMode="gray">
            <a:xfrm rot="-5400000">
              <a:off x="-359" y="3072"/>
              <a:ext cx="274" cy="254"/>
            </a:xfrm>
            <a:prstGeom prst="rect">
              <a:avLst/>
            </a:prstGeom>
            <a:solidFill>
              <a:srgbClr val="E18E8B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algn="ctr">
                <a:defRPr/>
              </a:pPr>
              <a:r>
                <a:rPr lang="en-GB" sz="800" b="0" dirty="0">
                  <a:solidFill>
                    <a:schemeClr val="tx1"/>
                  </a:solidFill>
                  <a:latin typeface="Arial" pitchFamily="34" charset="0"/>
                  <a:ea typeface="Batang" pitchFamily="18" charset="-127"/>
                  <a:cs typeface="+mn-cs"/>
                </a:rPr>
                <a:t>225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chemeClr val="tx1"/>
                  </a:solidFill>
                  <a:latin typeface="Arial" pitchFamily="34" charset="0"/>
                  <a:ea typeface="Batang" pitchFamily="18" charset="-127"/>
                  <a:cs typeface="+mn-cs"/>
                </a:rPr>
                <a:t>142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chemeClr val="tx1"/>
                  </a:solidFill>
                  <a:latin typeface="Arial" pitchFamily="34" charset="0"/>
                  <a:ea typeface="Batang" pitchFamily="18" charset="-127"/>
                  <a:cs typeface="+mn-cs"/>
                </a:rPr>
                <a:t>139</a:t>
              </a:r>
            </a:p>
          </p:txBody>
        </p:sp>
        <p:sp>
          <p:nvSpPr>
            <p:cNvPr id="1051" name="Rectangle 90"/>
            <p:cNvSpPr>
              <a:spLocks noChangeArrowheads="1"/>
            </p:cNvSpPr>
            <p:nvPr userDrawn="1"/>
          </p:nvSpPr>
          <p:spPr bwMode="gray">
            <a:xfrm rot="-5400000">
              <a:off x="-359" y="1584"/>
              <a:ext cx="274" cy="254"/>
            </a:xfrm>
            <a:prstGeom prst="rect">
              <a:avLst/>
            </a:prstGeom>
            <a:solidFill>
              <a:srgbClr val="8BAED6"/>
            </a:solidFill>
            <a:ln>
              <a:noFill/>
            </a:ln>
          </p:spPr>
          <p:txBody>
            <a:bodyPr vert="eaVert" lIns="0" tIns="0" rIns="0" bIns="0" anchor="ctr"/>
            <a:lstStyle/>
            <a:p>
              <a:pPr algn="ctr">
                <a:defRPr/>
              </a:pPr>
              <a:r>
                <a:rPr lang="en-GB" sz="800" b="0" dirty="0">
                  <a:solidFill>
                    <a:schemeClr val="tx1"/>
                  </a:solidFill>
                  <a:latin typeface="Arial" pitchFamily="34" charset="0"/>
                  <a:ea typeface="Batang" pitchFamily="18" charset="-127"/>
                  <a:cs typeface="+mn-cs"/>
                </a:rPr>
                <a:t>139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chemeClr val="tx1"/>
                  </a:solidFill>
                  <a:latin typeface="Arial" pitchFamily="34" charset="0"/>
                  <a:ea typeface="Batang" pitchFamily="18" charset="-127"/>
                  <a:cs typeface="+mn-cs"/>
                </a:rPr>
                <a:t>174</a:t>
              </a:r>
            </a:p>
            <a:p>
              <a:pPr algn="ctr">
                <a:defRPr/>
              </a:pPr>
              <a:r>
                <a:rPr lang="en-GB" sz="800" b="0" dirty="0">
                  <a:solidFill>
                    <a:schemeClr val="tx1"/>
                  </a:solidFill>
                  <a:latin typeface="Arial" pitchFamily="34" charset="0"/>
                  <a:ea typeface="Batang" pitchFamily="18" charset="-127"/>
                  <a:cs typeface="+mn-cs"/>
                </a:rPr>
                <a:t>214</a:t>
              </a:r>
            </a:p>
          </p:txBody>
        </p:sp>
      </p:grpSp>
      <p:pic>
        <p:nvPicPr>
          <p:cNvPr id="34" name="Рисунок 33"/>
          <p:cNvPicPr>
            <a:picLocks noChangeAspect="1"/>
          </p:cNvPicPr>
          <p:nvPr userDrawn="1"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41" b="88330"/>
          <a:stretch/>
        </p:blipFill>
        <p:spPr>
          <a:xfrm>
            <a:off x="7143" y="53783"/>
            <a:ext cx="10051257" cy="55170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9325" r:id="rId1"/>
    <p:sldLayoutId id="2147489216" r:id="rId2"/>
    <p:sldLayoutId id="2147489214" r:id="rId3"/>
    <p:sldLayoutId id="2147489212" r:id="rId4"/>
    <p:sldLayoutId id="2147489211" r:id="rId5"/>
    <p:sldLayoutId id="2147489206" r:id="rId6"/>
    <p:sldLayoutId id="2147489205" r:id="rId7"/>
    <p:sldLayoutId id="2147489342" r:id="rId8"/>
    <p:sldLayoutId id="2147489343" r:id="rId9"/>
    <p:sldLayoutId id="2147489344" r:id="rId10"/>
  </p:sldLayoutIdLst>
  <p:hf hdr="0" ftr="0" dt="0"/>
  <p:txStyles>
    <p:titleStyle>
      <a:lvl1pPr algn="l" defTabSz="993775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93775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ea typeface="Batang" pitchFamily="18" charset="-127"/>
          <a:cs typeface="Arial" charset="0"/>
        </a:defRPr>
      </a:lvl2pPr>
      <a:lvl3pPr algn="l" defTabSz="993775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ea typeface="Batang" pitchFamily="18" charset="-127"/>
          <a:cs typeface="Arial" charset="0"/>
        </a:defRPr>
      </a:lvl3pPr>
      <a:lvl4pPr algn="l" defTabSz="993775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ea typeface="Batang" pitchFamily="18" charset="-127"/>
          <a:cs typeface="Arial" charset="0"/>
        </a:defRPr>
      </a:lvl4pPr>
      <a:lvl5pPr algn="l" defTabSz="993775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ea typeface="Batang" pitchFamily="18" charset="-127"/>
          <a:cs typeface="Arial" charset="0"/>
        </a:defRPr>
      </a:lvl5pPr>
      <a:lvl6pPr marL="452891" algn="l" defTabSz="996991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ea typeface="Batang" pitchFamily="18" charset="-127"/>
          <a:cs typeface="Arial" charset="0"/>
        </a:defRPr>
      </a:lvl6pPr>
      <a:lvl7pPr marL="905762" algn="l" defTabSz="996991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ea typeface="Batang" pitchFamily="18" charset="-127"/>
          <a:cs typeface="Arial" charset="0"/>
        </a:defRPr>
      </a:lvl7pPr>
      <a:lvl8pPr marL="1358634" algn="l" defTabSz="996991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ea typeface="Batang" pitchFamily="18" charset="-127"/>
          <a:cs typeface="Arial" charset="0"/>
        </a:defRPr>
      </a:lvl8pPr>
      <a:lvl9pPr marL="1811516" algn="l" defTabSz="996991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  <a:ea typeface="Batang" pitchFamily="18" charset="-127"/>
          <a:cs typeface="Arial" charset="0"/>
        </a:defRPr>
      </a:lvl9pPr>
    </p:titleStyle>
    <p:bodyStyle>
      <a:lvl1pPr marL="336550" indent="-336550" algn="l" rtl="0" eaLnBrk="0" fontAlgn="base" hangingPunct="0">
        <a:spcBef>
          <a:spcPct val="20000"/>
        </a:spcBef>
        <a:spcAft>
          <a:spcPct val="20000"/>
        </a:spcAft>
        <a:buClr>
          <a:srgbClr val="FF0000"/>
        </a:buClr>
        <a:buFont typeface="Arial" charset="0"/>
        <a:buChar char="•"/>
        <a:defRPr sz="1200" b="1">
          <a:solidFill>
            <a:schemeClr val="tx2"/>
          </a:solidFill>
          <a:latin typeface="+mn-lt"/>
          <a:ea typeface="+mn-ea"/>
          <a:cs typeface="+mn-cs"/>
        </a:defRPr>
      </a:lvl1pPr>
      <a:lvl2pPr marL="247650" indent="-246063" algn="l" rtl="0" eaLnBrk="0" fontAlgn="base" hangingPunct="0">
        <a:spcBef>
          <a:spcPct val="20000"/>
        </a:spcBef>
        <a:spcAft>
          <a:spcPct val="20000"/>
        </a:spcAft>
        <a:buClr>
          <a:schemeClr val="tx2"/>
        </a:buClr>
        <a:buFont typeface="Wingdings" pitchFamily="2" charset="2"/>
        <a:buChar char="n"/>
        <a:defRPr sz="1200">
          <a:solidFill>
            <a:schemeClr val="tx1"/>
          </a:solidFill>
          <a:latin typeface="+mn-lt"/>
          <a:ea typeface="Arial Unicode MS" pitchFamily="34" charset="-128"/>
          <a:cs typeface="+mn-cs"/>
        </a:defRPr>
      </a:lvl2pPr>
      <a:lvl3pPr marL="520700" indent="-266700" algn="l" rtl="0" eaLnBrk="0" fontAlgn="base" hangingPunct="0">
        <a:spcBef>
          <a:spcPct val="20000"/>
        </a:spcBef>
        <a:spcAft>
          <a:spcPct val="20000"/>
        </a:spcAft>
        <a:buClr>
          <a:schemeClr val="tx1"/>
        </a:buClr>
        <a:buSzPct val="150000"/>
        <a:buFont typeface="Symbol" pitchFamily="18" charset="2"/>
        <a:buChar char="-"/>
        <a:defRPr sz="1200">
          <a:solidFill>
            <a:schemeClr val="tx1"/>
          </a:solidFill>
          <a:latin typeface="+mn-lt"/>
          <a:ea typeface="+mn-ea"/>
          <a:cs typeface="+mn-cs"/>
        </a:defRPr>
      </a:lvl3pPr>
      <a:lvl4pPr marL="784225" indent="-257175" algn="l" rtl="0" eaLnBrk="0" fontAlgn="base" hangingPunct="0">
        <a:spcBef>
          <a:spcPct val="20000"/>
        </a:spcBef>
        <a:spcAft>
          <a:spcPct val="20000"/>
        </a:spcAft>
        <a:buClr>
          <a:schemeClr val="tx1"/>
        </a:buClr>
        <a:buFont typeface="Symbol" pitchFamily="18" charset="2"/>
        <a:buChar char="-"/>
        <a:defRPr sz="1200">
          <a:solidFill>
            <a:schemeClr val="tx1"/>
          </a:solidFill>
          <a:latin typeface="+mn-lt"/>
          <a:ea typeface="+mn-ea"/>
          <a:cs typeface="+mn-cs"/>
        </a:defRPr>
      </a:lvl4pPr>
      <a:lvl5pPr marL="1047750" indent="-258763" algn="l" rtl="0" eaLnBrk="0" fontAlgn="base" hangingPunct="0">
        <a:spcBef>
          <a:spcPct val="20000"/>
        </a:spcBef>
        <a:spcAft>
          <a:spcPct val="20000"/>
        </a:spcAft>
        <a:buClr>
          <a:schemeClr val="tx1"/>
        </a:buClr>
        <a:buFont typeface="Symbol" pitchFamily="18" charset="2"/>
        <a:buChar char="-"/>
        <a:defRPr sz="1200">
          <a:solidFill>
            <a:schemeClr val="tx1"/>
          </a:solidFill>
          <a:latin typeface="+mn-lt"/>
          <a:ea typeface="+mn-ea"/>
          <a:cs typeface="+mn-cs"/>
        </a:defRPr>
      </a:lvl5pPr>
      <a:lvl6pPr marL="1503303" indent="-262605" algn="l" rtl="0" fontAlgn="base">
        <a:spcBef>
          <a:spcPct val="20000"/>
        </a:spcBef>
        <a:spcAft>
          <a:spcPct val="20000"/>
        </a:spcAft>
        <a:buClr>
          <a:schemeClr val="tx1"/>
        </a:buClr>
        <a:buFont typeface="Symbol" pitchFamily="18" charset="2"/>
        <a:buChar char="-"/>
        <a:defRPr sz="1200">
          <a:solidFill>
            <a:schemeClr val="tx1"/>
          </a:solidFill>
          <a:latin typeface="+mn-lt"/>
          <a:ea typeface="+mn-ea"/>
          <a:cs typeface="+mn-cs"/>
        </a:defRPr>
      </a:lvl6pPr>
      <a:lvl7pPr marL="1956167" indent="-262605" algn="l" rtl="0" fontAlgn="base">
        <a:spcBef>
          <a:spcPct val="20000"/>
        </a:spcBef>
        <a:spcAft>
          <a:spcPct val="20000"/>
        </a:spcAft>
        <a:buClr>
          <a:schemeClr val="tx1"/>
        </a:buClr>
        <a:buFont typeface="Symbol" pitchFamily="18" charset="2"/>
        <a:buChar char="-"/>
        <a:defRPr sz="1200">
          <a:solidFill>
            <a:schemeClr val="tx1"/>
          </a:solidFill>
          <a:latin typeface="+mn-lt"/>
          <a:ea typeface="+mn-ea"/>
          <a:cs typeface="+mn-cs"/>
        </a:defRPr>
      </a:lvl7pPr>
      <a:lvl8pPr marL="2409065" indent="-262605" algn="l" rtl="0" fontAlgn="base">
        <a:spcBef>
          <a:spcPct val="20000"/>
        </a:spcBef>
        <a:spcAft>
          <a:spcPct val="20000"/>
        </a:spcAft>
        <a:buClr>
          <a:schemeClr val="tx1"/>
        </a:buClr>
        <a:buFont typeface="Symbol" pitchFamily="18" charset="2"/>
        <a:buChar char="-"/>
        <a:defRPr sz="1200">
          <a:solidFill>
            <a:schemeClr val="tx1"/>
          </a:solidFill>
          <a:latin typeface="+mn-lt"/>
          <a:ea typeface="+mn-ea"/>
          <a:cs typeface="+mn-cs"/>
        </a:defRPr>
      </a:lvl8pPr>
      <a:lvl9pPr marL="2861953" indent="-262605" algn="l" rtl="0" fontAlgn="base">
        <a:spcBef>
          <a:spcPct val="20000"/>
        </a:spcBef>
        <a:spcAft>
          <a:spcPct val="20000"/>
        </a:spcAft>
        <a:buClr>
          <a:schemeClr val="tx1"/>
        </a:buClr>
        <a:buFont typeface="Symbol" pitchFamily="18" charset="2"/>
        <a:buChar char="-"/>
        <a:defRPr sz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057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91" algn="l" defTabSz="9057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62" algn="l" defTabSz="9057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634" algn="l" defTabSz="9057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516" algn="l" defTabSz="9057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4389" algn="l" defTabSz="9057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7262" algn="l" defTabSz="9057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0140" algn="l" defTabSz="9057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3028" algn="l" defTabSz="9057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13" Type="http://schemas.openxmlformats.org/officeDocument/2006/relationships/image" Target="../media/image9.jpeg"/><Relationship Id="rId3" Type="http://schemas.openxmlformats.org/officeDocument/2006/relationships/slideLayout" Target="../slideLayouts/slideLayout2.xml"/><Relationship Id="rId7" Type="http://schemas.openxmlformats.org/officeDocument/2006/relationships/diagramLayout" Target="../diagrams/layout1.xml"/><Relationship Id="rId12" Type="http://schemas.openxmlformats.org/officeDocument/2006/relationships/image" Target="../media/image8.jpeg"/><Relationship Id="rId2" Type="http://schemas.openxmlformats.org/officeDocument/2006/relationships/tags" Target="../tags/tag23.xml"/><Relationship Id="rId1" Type="http://schemas.openxmlformats.org/officeDocument/2006/relationships/vmlDrawing" Target="../drawings/vmlDrawing10.vml"/><Relationship Id="rId6" Type="http://schemas.openxmlformats.org/officeDocument/2006/relationships/diagramData" Target="../diagrams/data1.xml"/><Relationship Id="rId11" Type="http://schemas.openxmlformats.org/officeDocument/2006/relationships/image" Target="../media/image7.jpeg"/><Relationship Id="rId5" Type="http://schemas.openxmlformats.org/officeDocument/2006/relationships/image" Target="../media/image6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10.bin"/><Relationship Id="rId9" Type="http://schemas.openxmlformats.org/officeDocument/2006/relationships/diagramColors" Target="../diagrams/colors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.xml"/><Relationship Id="rId13" Type="http://schemas.openxmlformats.org/officeDocument/2006/relationships/image" Target="../media/image12.jpeg"/><Relationship Id="rId3" Type="http://schemas.openxmlformats.org/officeDocument/2006/relationships/slideLayout" Target="../slideLayouts/slideLayout2.xml"/><Relationship Id="rId7" Type="http://schemas.openxmlformats.org/officeDocument/2006/relationships/diagramLayout" Target="../diagrams/layout2.xml"/><Relationship Id="rId12" Type="http://schemas.openxmlformats.org/officeDocument/2006/relationships/image" Target="../media/image11.jpeg"/><Relationship Id="rId2" Type="http://schemas.openxmlformats.org/officeDocument/2006/relationships/tags" Target="../tags/tag24.xml"/><Relationship Id="rId1" Type="http://schemas.openxmlformats.org/officeDocument/2006/relationships/vmlDrawing" Target="../drawings/vmlDrawing11.vml"/><Relationship Id="rId6" Type="http://schemas.openxmlformats.org/officeDocument/2006/relationships/diagramData" Target="../diagrams/data2.xml"/><Relationship Id="rId11" Type="http://schemas.openxmlformats.org/officeDocument/2006/relationships/image" Target="../media/image10.jpeg"/><Relationship Id="rId5" Type="http://schemas.openxmlformats.org/officeDocument/2006/relationships/image" Target="../media/image6.emf"/><Relationship Id="rId15" Type="http://schemas.openxmlformats.org/officeDocument/2006/relationships/image" Target="../media/image14.jpeg"/><Relationship Id="rId10" Type="http://schemas.microsoft.com/office/2007/relationships/diagramDrawing" Target="../diagrams/drawing2.xml"/><Relationship Id="rId4" Type="http://schemas.openxmlformats.org/officeDocument/2006/relationships/oleObject" Target="../embeddings/oleObject11.bin"/><Relationship Id="rId9" Type="http://schemas.openxmlformats.org/officeDocument/2006/relationships/diagramColors" Target="../diagrams/colors2.xml"/><Relationship Id="rId14" Type="http://schemas.openxmlformats.org/officeDocument/2006/relationships/image" Target="../media/image13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3.xml"/><Relationship Id="rId13" Type="http://schemas.openxmlformats.org/officeDocument/2006/relationships/image" Target="../media/image17.jpeg"/><Relationship Id="rId3" Type="http://schemas.openxmlformats.org/officeDocument/2006/relationships/slideLayout" Target="../slideLayouts/slideLayout2.xml"/><Relationship Id="rId7" Type="http://schemas.openxmlformats.org/officeDocument/2006/relationships/diagramLayout" Target="../diagrams/layout3.xml"/><Relationship Id="rId12" Type="http://schemas.openxmlformats.org/officeDocument/2006/relationships/image" Target="../media/image16.jpeg"/><Relationship Id="rId2" Type="http://schemas.openxmlformats.org/officeDocument/2006/relationships/tags" Target="../tags/tag25.xml"/><Relationship Id="rId1" Type="http://schemas.openxmlformats.org/officeDocument/2006/relationships/vmlDrawing" Target="../drawings/vmlDrawing12.vml"/><Relationship Id="rId6" Type="http://schemas.openxmlformats.org/officeDocument/2006/relationships/diagramData" Target="../diagrams/data3.xml"/><Relationship Id="rId11" Type="http://schemas.openxmlformats.org/officeDocument/2006/relationships/image" Target="../media/image15.jpeg"/><Relationship Id="rId5" Type="http://schemas.openxmlformats.org/officeDocument/2006/relationships/image" Target="../media/image6.emf"/><Relationship Id="rId10" Type="http://schemas.microsoft.com/office/2007/relationships/diagramDrawing" Target="../diagrams/drawing3.xml"/><Relationship Id="rId4" Type="http://schemas.openxmlformats.org/officeDocument/2006/relationships/oleObject" Target="../embeddings/oleObject12.bin"/><Relationship Id="rId9" Type="http://schemas.openxmlformats.org/officeDocument/2006/relationships/diagramColors" Target="../diagrams/colors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964854"/>
            <a:ext cx="10058400" cy="5693599"/>
          </a:xfrm>
          <a:prstGeom prst="rect">
            <a:avLst/>
          </a:prstGeom>
        </p:spPr>
      </p:pic>
      <p:sp>
        <p:nvSpPr>
          <p:cNvPr id="89" name="Shape 89"/>
          <p:cNvSpPr/>
          <p:nvPr/>
        </p:nvSpPr>
        <p:spPr>
          <a:xfrm>
            <a:off x="6251575" y="7258459"/>
            <a:ext cx="2907507" cy="181268"/>
          </a:xfrm>
          <a:prstGeom prst="rect">
            <a:avLst/>
          </a:prstGeom>
          <a:ln w="12700">
            <a:miter lim="400000"/>
          </a:ln>
          <a:extLst>
            <a:ext uri="{C572A759-6A51-4108-AA02-DFA0A04FC94B}"/>
          </a:extLst>
        </p:spPr>
        <p:txBody>
          <a:bodyPr lIns="37718" rIns="37718" anchor="ctr">
            <a:spAutoFit/>
          </a:bodyPr>
          <a:lstStyle/>
          <a:p>
            <a:pPr algn="r" fontAlgn="auto" hangingPunct="0">
              <a:spcBef>
                <a:spcPts val="0"/>
              </a:spcBef>
              <a:spcAft>
                <a:spcPts val="0"/>
              </a:spcAft>
              <a:defRPr sz="700" cap="all">
                <a:solidFill>
                  <a:schemeClr val="accent1"/>
                </a:solidFill>
              </a:defRPr>
            </a:pPr>
            <a:endParaRPr sz="578" kern="0" cap="all" dirty="0">
              <a:solidFill>
                <a:schemeClr val="accent1"/>
              </a:solidFill>
              <a:latin typeface="Tahoma"/>
              <a:ea typeface="Tahoma"/>
              <a:cs typeface="Tahoma"/>
              <a:sym typeface="Tahoma"/>
            </a:endParaRPr>
          </a:p>
        </p:txBody>
      </p:sp>
      <p:sp>
        <p:nvSpPr>
          <p:cNvPr id="12297" name="Shape 95"/>
          <p:cNvSpPr>
            <a:spLocks/>
          </p:cNvSpPr>
          <p:nvPr/>
        </p:nvSpPr>
        <p:spPr bwMode="auto">
          <a:xfrm>
            <a:off x="190848" y="1329767"/>
            <a:ext cx="6650261" cy="1120826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  <p:txBody>
          <a:bodyPr lIns="0" tIns="0" rIns="0" bIns="0"/>
          <a:lstStyle/>
          <a:p>
            <a:pPr>
              <a:spcAft>
                <a:spcPts val="550"/>
              </a:spcAft>
            </a:pPr>
            <a:r>
              <a:rPr lang="ru-RU" sz="2800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расноярский транспортный узел </a:t>
            </a:r>
          </a:p>
          <a:p>
            <a:pPr>
              <a:spcAft>
                <a:spcPts val="550"/>
              </a:spcAft>
            </a:pPr>
            <a:r>
              <a:rPr lang="ru-RU" sz="2800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ОО «Норникель – ЕРП»</a:t>
            </a:r>
          </a:p>
        </p:txBody>
      </p:sp>
    </p:spTree>
    <p:extLst>
      <p:ext uri="{BB962C8B-B14F-4D97-AF65-F5344CB8AC3E}">
        <p14:creationId xmlns:p14="http://schemas.microsoft.com/office/powerpoint/2010/main" val="1143862446"/>
      </p:ext>
    </p:extLst>
  </p:cSld>
  <p:clrMapOvr>
    <a:masterClrMapping/>
  </p:clrMapOvr>
  <p:transition spd="slow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69621" y="1107219"/>
            <a:ext cx="3249042" cy="5695917"/>
          </a:xfrm>
          <a:prstGeom prst="rect">
            <a:avLst/>
          </a:prstGeom>
        </p:spPr>
      </p:pic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9416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5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42900" y="513826"/>
            <a:ext cx="9275763" cy="896938"/>
          </a:xfrm>
        </p:spPr>
        <p:txBody>
          <a:bodyPr vert="horz"/>
          <a:lstStyle/>
          <a:p>
            <a:r>
              <a:rPr lang="ru-RU" sz="1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расноярский транспортный </a:t>
            </a:r>
            <a:r>
              <a:rPr lang="ru-RU" sz="18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зел ООО «Норникель- ЕРП»</a:t>
            </a:r>
            <a:endParaRPr lang="en-US" sz="18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>
              <a:defRPr/>
            </a:pPr>
            <a:fld id="{A6B06EC4-1553-4EEC-8AFC-5F4512671736}" type="slidenum">
              <a:rPr lang="ru-RU" smtClean="0"/>
              <a:pPr algn="ctr">
                <a:defRPr/>
              </a:pPr>
              <a:t>1</a:t>
            </a:fld>
            <a:endParaRPr lang="en-GB" altLang="zh-TW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342900" y="1023605"/>
            <a:ext cx="5875020" cy="5828519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txBody>
          <a:bodyPr wrap="square">
            <a:spAutoFit/>
          </a:bodyPr>
          <a:lstStyle/>
          <a:p>
            <a:pPr marL="285750" indent="-28575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О «Енисейское речное пароходство» </a:t>
            </a:r>
          </a:p>
          <a:p>
            <a:pPr marL="790575" lvl="2" indent="-336550" algn="just" defTabSz="100584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</a:pP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400 единиц флота </a:t>
            </a:r>
          </a:p>
          <a:p>
            <a:pPr marL="790575" lvl="2" indent="-336550" algn="just" defTabSz="100584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</a:pP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3,8 млн. тонн </a:t>
            </a:r>
            <a:r>
              <a:rPr lang="ru-RU" b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перевозка грузов по Енисею;  </a:t>
            </a:r>
          </a:p>
          <a:p>
            <a:pPr marL="790575" lvl="2" indent="-336550" algn="just" defTabSz="100584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</a:pP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доставка социально значимых грузов</a:t>
            </a:r>
            <a:r>
              <a:rPr lang="ru-RU" b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 в отдаленные районы Крайнего Севера, а также  для нужд проектов Восток Ойл, «Северная звезда», ООО «РН-Ванкор», АО «Полюс» и пр.</a:t>
            </a:r>
          </a:p>
          <a:p>
            <a:pPr marL="285750" indent="-28575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О 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Красноярский речной порт» </a:t>
            </a:r>
          </a:p>
          <a:p>
            <a:pPr marL="790575" lvl="2" indent="-336550" algn="just" defTabSz="100584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</a:pPr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1,2 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млн. тонн </a:t>
            </a:r>
            <a:r>
              <a:rPr lang="ru-RU" b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текущая переработка грузов в порту с возможностью 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прироста объемов до </a:t>
            </a:r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2,0 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млн. тн</a:t>
            </a:r>
            <a:r>
              <a:rPr lang="ru-RU" b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;</a:t>
            </a:r>
          </a:p>
          <a:p>
            <a:pPr marL="790575" lvl="2" indent="-336550" algn="just" defTabSz="100584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</a:pP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контейнерный парк</a:t>
            </a:r>
            <a:r>
              <a:rPr lang="ru-RU" b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 свыше 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1000 единиц</a:t>
            </a:r>
            <a:r>
              <a:rPr lang="ru-RU" b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;</a:t>
            </a:r>
          </a:p>
          <a:p>
            <a:pPr marL="790575" lvl="2" indent="-336550" algn="just" defTabSz="100584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</a:pP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единственный</a:t>
            </a:r>
            <a:r>
              <a:rPr lang="ru-RU" b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 </a:t>
            </a:r>
            <a:r>
              <a:rPr lang="ru-RU" b="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мостовой кран </a:t>
            </a:r>
            <a:r>
              <a:rPr lang="ru-RU" b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грузоподъёмностью 200 тн;</a:t>
            </a:r>
          </a:p>
          <a:p>
            <a:pPr marL="285750" indent="-28575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О </a:t>
            </a:r>
            <a:r>
              <a:rPr lang="ru-RU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Лесосибирский порт» </a:t>
            </a:r>
            <a:endParaRPr lang="ru-RU" sz="14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790575" lvl="2" indent="-336550" algn="just" defTabSz="100584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</a:pP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1,</a:t>
            </a:r>
            <a:r>
              <a:rPr lang="en-US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2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 млн. тонн </a:t>
            </a:r>
            <a:r>
              <a:rPr lang="ru-RU" b="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переработка грузов; </a:t>
            </a:r>
            <a:endParaRPr lang="ru-RU" b="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/>
            </a:endParaRPr>
          </a:p>
          <a:p>
            <a:pPr marL="790575" lvl="2" indent="-336550" algn="just" defTabSz="100584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</a:pPr>
            <a:r>
              <a:rPr lang="ru-RU" dirty="0" smtClean="0">
                <a:solidFill>
                  <a:srgbClr val="14446C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динственный</a:t>
            </a:r>
            <a:r>
              <a:rPr lang="ru-RU" b="0" dirty="0" smtClean="0">
                <a:solidFill>
                  <a:srgbClr val="14446C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специализированный участок по </a:t>
            </a:r>
            <a:r>
              <a:rPr lang="ru-RU" b="0" dirty="0">
                <a:solidFill>
                  <a:srgbClr val="14446C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работке взрывчатых </a:t>
            </a:r>
            <a:r>
              <a:rPr lang="ru-RU" b="0" dirty="0" smtClean="0">
                <a:solidFill>
                  <a:srgbClr val="14446C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еществ, </a:t>
            </a:r>
            <a:r>
              <a:rPr lang="ru-RU" b="0" dirty="0">
                <a:solidFill>
                  <a:srgbClr val="14446C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 </a:t>
            </a:r>
            <a:r>
              <a:rPr lang="ru-RU" b="0" dirty="0" smtClean="0">
                <a:solidFill>
                  <a:srgbClr val="14446C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меющий альтернативы </a:t>
            </a:r>
            <a:r>
              <a:rPr lang="ru-RU" b="0" dirty="0">
                <a:solidFill>
                  <a:srgbClr val="14446C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бассейне р. Енисей</a:t>
            </a:r>
            <a:r>
              <a:rPr lang="ru-RU" b="0" dirty="0" smtClean="0">
                <a:solidFill>
                  <a:srgbClr val="14446C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r>
              <a:rPr lang="ru-RU" b="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 </a:t>
            </a:r>
          </a:p>
          <a:p>
            <a:pPr marL="0" lvl="2" indent="0" algn="just" defTabSz="100584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50" b="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Инфраструктура, способная принимать к </a:t>
            </a:r>
            <a:r>
              <a:rPr lang="ru-RU" sz="125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перевалке любые виды грузов</a:t>
            </a:r>
            <a:r>
              <a:rPr lang="ru-RU" sz="1250" b="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 с любых видов транспорта на всех грузовых районах портов.</a:t>
            </a:r>
            <a:r>
              <a:rPr lang="ru-RU" sz="1250" b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50" b="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озможность предоставления клиентам комплексной услуги по гибкой  ценовой политике.</a:t>
            </a:r>
            <a:endParaRPr lang="ru-RU" sz="1250" b="0" dirty="0" smtClean="0">
              <a:solidFill>
                <a:srgbClr val="14446C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6474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59B43ACC-3573-4FFA-771D-C1EF7BC7A1A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3" name="Слайд think-cell" r:id="rId4" imgW="347" imgH="346" progId="TCLayout.ActiveDocument.1">
                  <p:embed/>
                </p:oleObj>
              </mc:Choice>
              <mc:Fallback>
                <p:oleObj name="Слайд think-cell" r:id="rId4" imgW="347" imgH="346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59B43ACC-3573-4FFA-771D-C1EF7BC7A1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35B25E8F-8570-978D-6770-DA0DEDBF84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993" y="414081"/>
            <a:ext cx="9323049" cy="605814"/>
          </a:xfrm>
        </p:spPr>
        <p:txBody>
          <a:bodyPr vert="horz"/>
          <a:lstStyle/>
          <a:p>
            <a:r>
              <a:rPr lang="ru-RU" sz="2400" b="1" kern="0" dirty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О </a:t>
            </a:r>
            <a:r>
              <a:rPr lang="ru-RU" sz="2400" b="1" kern="0" dirty="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Енисейское речное пароходство» </a:t>
            </a:r>
            <a:endParaRPr lang="en-US" sz="2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2FFBD836-45BE-292C-1194-F032DABF355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>
              <a:defRPr/>
            </a:pPr>
            <a:fld id="{A6B06EC4-1553-4EEC-8AFC-5F4512671736}" type="slidenum">
              <a:rPr lang="ru-RU" smtClean="0"/>
              <a:pPr algn="ctr">
                <a:defRPr/>
              </a:pPr>
              <a:t>2</a:t>
            </a:fld>
            <a:endParaRPr lang="en-GB" altLang="zh-TW" dirty="0"/>
          </a:p>
        </p:txBody>
      </p:sp>
      <p:graphicFrame>
        <p:nvGraphicFramePr>
          <p:cNvPr id="10" name="Схема 9">
            <a:extLst>
              <a:ext uri="{FF2B5EF4-FFF2-40B4-BE49-F238E27FC236}">
                <a16:creationId xmlns:a16="http://schemas.microsoft.com/office/drawing/2014/main" id="{3EA60104-31DD-C6C2-247B-0582A35090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93228067"/>
              </p:ext>
            </p:extLst>
          </p:nvPr>
        </p:nvGraphicFramePr>
        <p:xfrm>
          <a:off x="286348" y="1050476"/>
          <a:ext cx="5210167" cy="581524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grpSp>
        <p:nvGrpSpPr>
          <p:cNvPr id="22" name="Группа 21"/>
          <p:cNvGrpSpPr/>
          <p:nvPr/>
        </p:nvGrpSpPr>
        <p:grpSpPr>
          <a:xfrm>
            <a:off x="5561495" y="1019895"/>
            <a:ext cx="4137637" cy="5845827"/>
            <a:chOff x="5561495" y="1019895"/>
            <a:chExt cx="4137637" cy="5845827"/>
          </a:xfrm>
        </p:grpSpPr>
        <p:pic>
          <p:nvPicPr>
            <p:cNvPr id="18" name="Рисунок 17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70587" y="1019895"/>
              <a:ext cx="4119455" cy="2317194"/>
            </a:xfrm>
            <a:prstGeom prst="rect">
              <a:avLst/>
            </a:prstGeom>
          </p:spPr>
        </p:pic>
        <p:pic>
          <p:nvPicPr>
            <p:cNvPr id="21" name="Рисунок 20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70587" y="4543720"/>
              <a:ext cx="4128004" cy="2322002"/>
            </a:xfrm>
            <a:prstGeom prst="rect">
              <a:avLst/>
            </a:prstGeom>
          </p:spPr>
        </p:pic>
        <p:pic>
          <p:nvPicPr>
            <p:cNvPr id="20" name="Рисунок 19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61495" y="2779192"/>
              <a:ext cx="4137637" cy="23274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222287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59B43ACC-3573-4FFA-771D-C1EF7BC7A1A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87443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7" name="Слайд think-cell" r:id="rId4" imgW="347" imgH="346" progId="TCLayout.ActiveDocument.1">
                  <p:embed/>
                </p:oleObj>
              </mc:Choice>
              <mc:Fallback>
                <p:oleObj name="Слайд think-cell" r:id="rId4" imgW="347" imgH="346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59B43ACC-3573-4FFA-771D-C1EF7BC7A1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35B25E8F-8570-978D-6770-DA0DEDBF84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993" y="414081"/>
            <a:ext cx="9323049" cy="605814"/>
          </a:xfrm>
        </p:spPr>
        <p:txBody>
          <a:bodyPr vert="horz"/>
          <a:lstStyle/>
          <a:p>
            <a:r>
              <a:rPr lang="ru-RU" sz="2300" b="1" kern="0" dirty="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О </a:t>
            </a:r>
            <a:r>
              <a:rPr lang="ru-RU" sz="2300" b="1" kern="0" dirty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</a:t>
            </a:r>
            <a:r>
              <a:rPr lang="ru-RU" sz="2300" b="1" kern="0" dirty="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расноярский речной порт» </a:t>
            </a:r>
            <a:endParaRPr lang="en-US" sz="23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2FFBD836-45BE-292C-1194-F032DABF355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>
              <a:defRPr/>
            </a:pPr>
            <a:fld id="{A6B06EC4-1553-4EEC-8AFC-5F4512671736}" type="slidenum">
              <a:rPr lang="ru-RU" smtClean="0"/>
              <a:pPr algn="ctr">
                <a:defRPr/>
              </a:pPr>
              <a:t>3</a:t>
            </a:fld>
            <a:endParaRPr lang="en-GB" altLang="zh-TW" dirty="0"/>
          </a:p>
        </p:txBody>
      </p:sp>
      <p:graphicFrame>
        <p:nvGraphicFramePr>
          <p:cNvPr id="10" name="Схема 9">
            <a:extLst>
              <a:ext uri="{FF2B5EF4-FFF2-40B4-BE49-F238E27FC236}">
                <a16:creationId xmlns:a16="http://schemas.microsoft.com/office/drawing/2014/main" id="{3EA60104-31DD-C6C2-247B-0582A35090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88657663"/>
              </p:ext>
            </p:extLst>
          </p:nvPr>
        </p:nvGraphicFramePr>
        <p:xfrm>
          <a:off x="286348" y="1050476"/>
          <a:ext cx="5210167" cy="581524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grpSp>
        <p:nvGrpSpPr>
          <p:cNvPr id="7" name="Группа 6"/>
          <p:cNvGrpSpPr/>
          <p:nvPr/>
        </p:nvGrpSpPr>
        <p:grpSpPr>
          <a:xfrm>
            <a:off x="5638800" y="1050476"/>
            <a:ext cx="4190611" cy="5860864"/>
            <a:chOff x="5751871" y="1050476"/>
            <a:chExt cx="4108020" cy="5792776"/>
          </a:xfrm>
        </p:grpSpPr>
        <p:pic>
          <p:nvPicPr>
            <p:cNvPr id="8" name="Рисунок 7">
              <a:extLst>
                <a:ext uri="{FF2B5EF4-FFF2-40B4-BE49-F238E27FC236}">
                  <a16:creationId xmlns:a16="http://schemas.microsoft.com/office/drawing/2014/main" id="{2C1E887B-F601-7A87-FC37-EC80AA049B7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962" r="12836" b="6359"/>
            <a:stretch/>
          </p:blipFill>
          <p:spPr>
            <a:xfrm flipH="1">
              <a:off x="5751871" y="1050477"/>
              <a:ext cx="3245095" cy="5792775"/>
            </a:xfrm>
            <a:prstGeom prst="rect">
              <a:avLst/>
            </a:prstGeom>
          </p:spPr>
        </p:pic>
        <p:pic>
          <p:nvPicPr>
            <p:cNvPr id="9" name="Рисунок 8">
              <a:extLst>
                <a:ext uri="{FF2B5EF4-FFF2-40B4-BE49-F238E27FC236}">
                  <a16:creationId xmlns:a16="http://schemas.microsoft.com/office/drawing/2014/main" id="{0BAD1412-C8A6-11BB-6D35-5426E4876AE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694" t="3653" r="-1" b="8883"/>
            <a:stretch/>
          </p:blipFill>
          <p:spPr bwMode="auto">
            <a:xfrm>
              <a:off x="7968486" y="3999589"/>
              <a:ext cx="1891405" cy="13257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Рисунок 10">
              <a:extLst>
                <a:ext uri="{FF2B5EF4-FFF2-40B4-BE49-F238E27FC236}">
                  <a16:creationId xmlns:a16="http://schemas.microsoft.com/office/drawing/2014/main" id="{A6A7FC06-8D04-07C3-F9F0-B728A6F733E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365"/>
            <a:stretch/>
          </p:blipFill>
          <p:spPr bwMode="auto">
            <a:xfrm flipH="1">
              <a:off x="7968486" y="5510923"/>
              <a:ext cx="1871291" cy="13323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4">
              <a:extLst>
                <a:ext uri="{FF2B5EF4-FFF2-40B4-BE49-F238E27FC236}">
                  <a16:creationId xmlns:a16="http://schemas.microsoft.com/office/drawing/2014/main" id="{0CD9BDF7-7186-A887-548E-413A1ECBBE2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362" t="9475" r="7451"/>
            <a:stretch/>
          </p:blipFill>
          <p:spPr bwMode="auto">
            <a:xfrm>
              <a:off x="7968488" y="1050476"/>
              <a:ext cx="1871291" cy="13257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2">
              <a:extLst>
                <a:ext uri="{FF2B5EF4-FFF2-40B4-BE49-F238E27FC236}">
                  <a16:creationId xmlns:a16="http://schemas.microsoft.com/office/drawing/2014/main" id="{C72216B4-ADCE-9E9A-22AA-A549DF44F20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379" t="2028" r="7379"/>
            <a:stretch/>
          </p:blipFill>
          <p:spPr bwMode="auto">
            <a:xfrm>
              <a:off x="7968486" y="2525032"/>
              <a:ext cx="1871290" cy="1325704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8036920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59B43ACC-3573-4FFA-771D-C1EF7BC7A1A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6" name="Слайд think-cell" r:id="rId4" imgW="347" imgH="346" progId="TCLayout.ActiveDocument.1">
                  <p:embed/>
                </p:oleObj>
              </mc:Choice>
              <mc:Fallback>
                <p:oleObj name="Слайд think-cell" r:id="rId4" imgW="347" imgH="346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59B43ACC-3573-4FFA-771D-C1EF7BC7A1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35B25E8F-8570-978D-6770-DA0DEDBF84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993" y="414081"/>
            <a:ext cx="9323049" cy="605814"/>
          </a:xfrm>
        </p:spPr>
        <p:txBody>
          <a:bodyPr vert="horz"/>
          <a:lstStyle/>
          <a:p>
            <a:r>
              <a:rPr lang="ru-RU" sz="2300" b="1" kern="0" dirty="0" smtClean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О «Лесосибирский порт» </a:t>
            </a:r>
            <a:endParaRPr lang="en-US" sz="23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2FFBD836-45BE-292C-1194-F032DABF355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>
              <a:defRPr/>
            </a:pPr>
            <a:fld id="{A6B06EC4-1553-4EEC-8AFC-5F4512671736}" type="slidenum">
              <a:rPr lang="ru-RU" smtClean="0"/>
              <a:pPr algn="ctr">
                <a:defRPr/>
              </a:pPr>
              <a:t>4</a:t>
            </a:fld>
            <a:endParaRPr lang="en-GB" altLang="zh-TW" dirty="0"/>
          </a:p>
        </p:txBody>
      </p:sp>
      <p:graphicFrame>
        <p:nvGraphicFramePr>
          <p:cNvPr id="10" name="Схема 9">
            <a:extLst>
              <a:ext uri="{FF2B5EF4-FFF2-40B4-BE49-F238E27FC236}">
                <a16:creationId xmlns:a16="http://schemas.microsoft.com/office/drawing/2014/main" id="{3EA60104-31DD-C6C2-247B-0582A35090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20801743"/>
              </p:ext>
            </p:extLst>
          </p:nvPr>
        </p:nvGraphicFramePr>
        <p:xfrm>
          <a:off x="286348" y="1050476"/>
          <a:ext cx="5210167" cy="581524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pic>
        <p:nvPicPr>
          <p:cNvPr id="2" name="Рисунок 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7167" y="1184344"/>
            <a:ext cx="1942244" cy="1327437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6131" y="1102119"/>
            <a:ext cx="4273280" cy="2714616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6131" y="3898960"/>
            <a:ext cx="4294553" cy="2842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37618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PATHNAME" val=" "/>
  <p:tag name="KEYWORDS" val="C:\Program Files\Ubs\PresXpress\templates\PresPrint.pot"/>
  <p:tag name="FDSMENUDOCLEVELBTNSTATES" val="&lt;btnStates&gt;&lt;btn tag=&quot;1001&quot; state=&quot;UP&quot;/&gt;&lt;/btnStates&gt;&#10;"/>
  <p:tag name="SERIF FONT" val="UBSHeadline"/>
  <p:tag name="SANS SERIF FONT" val="Frutiger 45 Light"/>
  <p:tag name="LANGUAGE ID" val="2057"/>
  <p:tag name="LP_285654E3CFF447BC8F112B7148A39F31" val="40453.6278125"/>
  <p:tag name="LP_DF4E7DEE09FB4DDCA55F7E952DBD0E90" val="40453.6282291667"/>
  <p:tag name="LAST PRINTED" val="404587382812500E-10"/>
  <p:tag name="THINKCELLPRESENTATIONDONOTDELETE" val="&lt;?xml version=&quot;1.0&quot; encoding=&quot;UTF-16&quot; standalone=&quot;yes&quot;?&gt;&lt;root reqver=&quot;24162&quot;&gt;&lt;version val=&quot;2705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1"/>
  <p:tag name="COL" val="2"/>
  <p:tag name="TOP" val="118"/>
  <p:tag name="LEFT" val="410.5"/>
  <p:tag name="WIDTH" val="329.625"/>
  <p:tag name="HEIGHT" val="28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  <p:tag name="ROW" val="1"/>
  <p:tag name="COL" val="2"/>
  <p:tag name="TOP" val="118"/>
  <p:tag name="LEFT" val="410.5"/>
  <p:tag name="WIDTH" val="329.625"/>
  <p:tag name="HEIGHT" val="28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 STYLE" val="SANS SERIF"/>
</p:tagLst>
</file>

<file path=ppt/theme/theme1.xml><?xml version="1.0" encoding="utf-8"?>
<a:theme xmlns:a="http://schemas.openxmlformats.org/drawingml/2006/main" name="Section_Divider">
  <a:themeElements>
    <a:clrScheme name="Section_Divider 2">
      <a:dk1>
        <a:srgbClr val="000000"/>
      </a:dk1>
      <a:lt1>
        <a:srgbClr val="FFFFFF"/>
      </a:lt1>
      <a:dk2>
        <a:srgbClr val="14446C"/>
      </a:dk2>
      <a:lt2>
        <a:srgbClr val="E2E5EA"/>
      </a:lt2>
      <a:accent1>
        <a:srgbClr val="236CB0"/>
      </a:accent1>
      <a:accent2>
        <a:srgbClr val="CCDDED"/>
      </a:accent2>
      <a:accent3>
        <a:srgbClr val="FFFFFF"/>
      </a:accent3>
      <a:accent4>
        <a:srgbClr val="000000"/>
      </a:accent4>
      <a:accent5>
        <a:srgbClr val="ACBAD4"/>
      </a:accent5>
      <a:accent6>
        <a:srgbClr val="B9C8D7"/>
      </a:accent6>
      <a:hlink>
        <a:srgbClr val="979797"/>
      </a:hlink>
      <a:folHlink>
        <a:srgbClr val="F09230"/>
      </a:folHlink>
    </a:clrScheme>
    <a:fontScheme name="Section_Divider">
      <a:majorFont>
        <a:latin typeface="Arial"/>
        <a:ea typeface="Batang"/>
        <a:cs typeface="Arial"/>
      </a:majorFont>
      <a:minorFont>
        <a:latin typeface="Arial"/>
        <a:ea typeface="Batang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19050" cap="flat" cmpd="sng" algn="ctr">
              <a:solidFill>
                <a:srgbClr val="969696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17961" dir="2700000" algn="ctr" rotWithShape="0">
                  <a:schemeClr val="accent1">
                    <a:gamma/>
                    <a:shade val="60000"/>
                    <a:invGamma/>
                  </a:schemeClr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1300" b="1" i="0" u="none" strike="noStrike" cap="none" normalizeH="0" baseline="0" smtClean="0">
            <a:ln>
              <a:noFill/>
            </a:ln>
            <a:solidFill>
              <a:srgbClr val="164463"/>
            </a:solidFill>
            <a:effectLst/>
            <a:latin typeface="Arial" charset="0"/>
            <a:ea typeface="Batang" pitchFamily="18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19050" cap="flat" cmpd="sng" algn="ctr">
              <a:solidFill>
                <a:srgbClr val="969696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17961" dir="2700000" algn="ctr" rotWithShape="0">
                  <a:schemeClr val="accent1">
                    <a:gamma/>
                    <a:shade val="60000"/>
                    <a:invGamma/>
                  </a:schemeClr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1300" b="1" i="0" u="none" strike="noStrike" cap="none" normalizeH="0" baseline="0" smtClean="0">
            <a:ln>
              <a:noFill/>
            </a:ln>
            <a:solidFill>
              <a:srgbClr val="164463"/>
            </a:solidFill>
            <a:effectLst/>
            <a:latin typeface="Arial" charset="0"/>
            <a:ea typeface="Batang" pitchFamily="18" charset="-127"/>
          </a:defRPr>
        </a:defPPr>
      </a:lstStyle>
    </a:lnDef>
  </a:objectDefaults>
  <a:extraClrSchemeLst>
    <a:extraClrScheme>
      <a:clrScheme name="Section_Divider 1">
        <a:dk1>
          <a:srgbClr val="181842"/>
        </a:dk1>
        <a:lt1>
          <a:srgbClr val="FFFFFF"/>
        </a:lt1>
        <a:dk2>
          <a:srgbClr val="587281"/>
        </a:dk2>
        <a:lt2>
          <a:srgbClr val="6D6D6D"/>
        </a:lt2>
        <a:accent1>
          <a:srgbClr val="365886"/>
        </a:accent1>
        <a:accent2>
          <a:srgbClr val="6E4064"/>
        </a:accent2>
        <a:accent3>
          <a:srgbClr val="FFFFFF"/>
        </a:accent3>
        <a:accent4>
          <a:srgbClr val="131337"/>
        </a:accent4>
        <a:accent5>
          <a:srgbClr val="AEB4C3"/>
        </a:accent5>
        <a:accent6>
          <a:srgbClr val="63395A"/>
        </a:accent6>
        <a:hlink>
          <a:srgbClr val="A2958F"/>
        </a:hlink>
        <a:folHlink>
          <a:srgbClr val="4B6C7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ection_Divider 2">
        <a:dk1>
          <a:srgbClr val="000000"/>
        </a:dk1>
        <a:lt1>
          <a:srgbClr val="FFFFFF"/>
        </a:lt1>
        <a:dk2>
          <a:srgbClr val="14446C"/>
        </a:dk2>
        <a:lt2>
          <a:srgbClr val="E2E5EA"/>
        </a:lt2>
        <a:accent1>
          <a:srgbClr val="236CB0"/>
        </a:accent1>
        <a:accent2>
          <a:srgbClr val="CCDDED"/>
        </a:accent2>
        <a:accent3>
          <a:srgbClr val="FFFFFF"/>
        </a:accent3>
        <a:accent4>
          <a:srgbClr val="000000"/>
        </a:accent4>
        <a:accent5>
          <a:srgbClr val="ACBAD4"/>
        </a:accent5>
        <a:accent6>
          <a:srgbClr val="B9C8D7"/>
        </a:accent6>
        <a:hlink>
          <a:srgbClr val="979797"/>
        </a:hlink>
        <a:folHlink>
          <a:srgbClr val="F0923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3783FF"/>
      </a:dk2>
      <a:lt2>
        <a:srgbClr val="295595"/>
      </a:lt2>
      <a:accent1>
        <a:srgbClr val="295595"/>
      </a:accent1>
      <a:accent2>
        <a:srgbClr val="FFFFFF"/>
      </a:accent2>
      <a:accent3>
        <a:srgbClr val="FFFFFF"/>
      </a:accent3>
      <a:accent4>
        <a:srgbClr val="000000"/>
      </a:accent4>
      <a:accent5>
        <a:srgbClr val="ACB4C8"/>
      </a:accent5>
      <a:accent6>
        <a:srgbClr val="E7E7E7"/>
      </a:accent6>
      <a:hlink>
        <a:srgbClr val="000000"/>
      </a:hlink>
      <a:folHlink>
        <a:srgbClr val="DDF2FA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1103</TotalTime>
  <Words>397</Words>
  <Application>Microsoft Office PowerPoint</Application>
  <PresentationFormat>Произвольный</PresentationFormat>
  <Paragraphs>62</Paragraphs>
  <Slides>5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15" baseType="lpstr">
      <vt:lpstr>Arial</vt:lpstr>
      <vt:lpstr>Arial Unicode MS</vt:lpstr>
      <vt:lpstr>Batang</vt:lpstr>
      <vt:lpstr>Frutiger 45 Light</vt:lpstr>
      <vt:lpstr>新細明體</vt:lpstr>
      <vt:lpstr>Symbol</vt:lpstr>
      <vt:lpstr>Tahoma</vt:lpstr>
      <vt:lpstr>Wingdings</vt:lpstr>
      <vt:lpstr>Section_Divider</vt:lpstr>
      <vt:lpstr>Слайд think-cell</vt:lpstr>
      <vt:lpstr>Презентация PowerPoint</vt:lpstr>
      <vt:lpstr>Красноярский транспортный узел ООО «Норникель- ЕРП»</vt:lpstr>
      <vt:lpstr>АО «Енисейское речное пароходство» </vt:lpstr>
      <vt:lpstr>АО «Красноярский речной порт» </vt:lpstr>
      <vt:lpstr>АО «Лесосибирский порт» </vt:lpstr>
    </vt:vector>
  </TitlesOfParts>
  <Company>UB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&lt;&lt;Presentation Title&gt;&gt;</dc:title>
  <dc:creator>Беляков Сергей Сергеевич</dc:creator>
  <cp:keywords>&lt;&lt;Not Saved&gt;&gt;</cp:keywords>
  <cp:lastModifiedBy>Ксанф Ольга Владимировна</cp:lastModifiedBy>
  <cp:revision>4803</cp:revision>
  <cp:lastPrinted>2024-04-01T12:50:46Z</cp:lastPrinted>
  <dcterms:created xsi:type="dcterms:W3CDTF">2002-05-03T03:00:09Z</dcterms:created>
  <dcterms:modified xsi:type="dcterms:W3CDTF">2024-06-17T10:57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Section-T">
    <vt:lpwstr>SECTION</vt:lpwstr>
  </property>
  <property fmtid="{D5CDD505-2E9C-101B-9397-08002B2CF9AE}" pid="3" name="Appendix-T">
    <vt:lpwstr>APPENDIX</vt:lpwstr>
  </property>
  <property fmtid="{D5CDD505-2E9C-101B-9397-08002B2CF9AE}" pid="4" name="DividerTitle-T">
    <vt:lpwstr>&lt;&lt;Divider Title&gt;&gt;</vt:lpwstr>
  </property>
  <property fmtid="{D5CDD505-2E9C-101B-9397-08002B2CF9AE}" pid="5" name="split-s">
    <vt:lpwstr>0</vt:lpwstr>
  </property>
  <property fmtid="{D5CDD505-2E9C-101B-9397-08002B2CF9AE}" pid="6" name="split-a">
    <vt:lpwstr>0</vt:lpwstr>
  </property>
  <property fmtid="{D5CDD505-2E9C-101B-9397-08002B2CF9AE}" pid="7" name="Month-T">
    <vt:lpwstr> </vt:lpwstr>
  </property>
  <property fmtid="{D5CDD505-2E9C-101B-9397-08002B2CF9AE}" pid="8" name="Private-T">
    <vt:lpwstr>Private</vt:lpwstr>
  </property>
  <property fmtid="{D5CDD505-2E9C-101B-9397-08002B2CF9AE}" pid="9" name="TableOfContents-T">
    <vt:lpwstr>Table of contents</vt:lpwstr>
  </property>
  <property fmtid="{D5CDD505-2E9C-101B-9397-08002B2CF9AE}" pid="10" name="Quote-T">
    <vt:lpwstr>&lt;&lt;Quote&gt;&gt;</vt:lpwstr>
  </property>
  <property fmtid="{D5CDD505-2E9C-101B-9397-08002B2CF9AE}" pid="11" name="Logo-T">
    <vt:lpwstr>&lt;&lt;Logo&gt;&gt;</vt:lpwstr>
  </property>
  <property fmtid="{D5CDD505-2E9C-101B-9397-08002B2CF9AE}" pid="12" name="Amount_DealType-T">
    <vt:lpwstr>Amount Deal Type</vt:lpwstr>
  </property>
  <property fmtid="{D5CDD505-2E9C-101B-9397-08002B2CF9AE}" pid="13" name="PresentationTitle-T">
    <vt:lpwstr>&lt;&lt;Presentation Title&gt;&gt;</vt:lpwstr>
  </property>
  <property fmtid="{D5CDD505-2E9C-101B-9397-08002B2CF9AE}" pid="14" name="PresentationSubTitle-T">
    <vt:lpwstr>&lt;&lt;Presentation Subtitle&gt;&gt;</vt:lpwstr>
  </property>
  <property fmtid="{D5CDD505-2E9C-101B-9397-08002B2CF9AE}" pid="15" name="PageHeading-T">
    <vt:lpwstr>&lt;&lt;Page Heading&gt;&gt;</vt:lpwstr>
  </property>
  <property fmtid="{D5CDD505-2E9C-101B-9397-08002B2CF9AE}" pid="16" name="MessageText-T">
    <vt:lpwstr>&lt;&lt;Message&gt;&gt;</vt:lpwstr>
  </property>
  <property fmtid="{D5CDD505-2E9C-101B-9397-08002B2CF9AE}" pid="17" name="Security-T">
    <vt:lpwstr>STRICTLY CONFIDENTIAL</vt:lpwstr>
  </property>
  <property fmtid="{D5CDD505-2E9C-101B-9397-08002B2CF9AE}" pid="18" name="ContactInformation-T">
    <vt:lpwstr>Contact information</vt:lpwstr>
  </property>
  <property fmtid="{D5CDD505-2E9C-101B-9397-08002B2CF9AE}" pid="19" name="Appendices-T">
    <vt:lpwstr>Appendices</vt:lpwstr>
  </property>
  <property fmtid="{D5CDD505-2E9C-101B-9397-08002B2CF9AE}" pid="20" name="AwardTitle-T">
    <vt:lpwstr>&lt;&lt;Award Title&gt;&gt;</vt:lpwstr>
  </property>
  <property fmtid="{D5CDD505-2E9C-101B-9397-08002B2CF9AE}" pid="21" name="AwardSubTitle-T">
    <vt:lpwstr>&lt;&lt;Award Subtitle&gt;&gt;</vt:lpwstr>
  </property>
  <property fmtid="{D5CDD505-2E9C-101B-9397-08002B2CF9AE}" pid="22" name="BiographicalDetails-T">
    <vt:lpwstr>&lt;&lt;Biographical Details&gt;&gt;</vt:lpwstr>
  </property>
  <property fmtid="{D5CDD505-2E9C-101B-9397-08002B2CF9AE}" pid="23" name="Conclusion-T">
    <vt:lpwstr>&lt;&lt;Conclusion&gt;&gt;</vt:lpwstr>
  </property>
  <property fmtid="{D5CDD505-2E9C-101B-9397-08002B2CF9AE}" pid="24" name="Continued-T">
    <vt:lpwstr>Continued</vt:lpwstr>
  </property>
  <property fmtid="{D5CDD505-2E9C-101B-9397-08002B2CF9AE}" pid="25" name="Draft-T">
    <vt:lpwstr>DRAFT</vt:lpwstr>
  </property>
  <property fmtid="{D5CDD505-2E9C-101B-9397-08002B2CF9AE}" pid="26" name="LayoutHeading-T">
    <vt:lpwstr>&lt;&lt;Layout Heading&gt;&gt;</vt:lpwstr>
  </property>
  <property fmtid="{D5CDD505-2E9C-101B-9397-08002B2CF9AE}" pid="27" name="Name-T">
    <vt:lpwstr>&lt;&lt;Name&gt;&gt;</vt:lpwstr>
  </property>
  <property fmtid="{D5CDD505-2E9C-101B-9397-08002B2CF9AE}" pid="28" name="Notes-T">
    <vt:lpwstr>Notes</vt:lpwstr>
  </property>
  <property fmtid="{D5CDD505-2E9C-101B-9397-08002B2CF9AE}" pid="29" name="QuoteSource-T">
    <vt:lpwstr>&lt;&lt;Quote Source&gt;&gt;</vt:lpwstr>
  </property>
  <property fmtid="{D5CDD505-2E9C-101B-9397-08002B2CF9AE}" pid="30" name="Sections-T">
    <vt:lpwstr>Sections</vt:lpwstr>
  </property>
  <property fmtid="{D5CDD505-2E9C-101B-9397-08002B2CF9AE}" pid="31" name="Source-T">
    <vt:lpwstr>Source</vt:lpwstr>
  </property>
  <property fmtid="{D5CDD505-2E9C-101B-9397-08002B2CF9AE}" pid="32" name="Subappendix-T">
    <vt:lpwstr>Subappendix</vt:lpwstr>
  </property>
  <property fmtid="{D5CDD505-2E9C-101B-9397-08002B2CF9AE}" pid="33" name="Subsection-T">
    <vt:lpwstr>Subsection</vt:lpwstr>
  </property>
  <property fmtid="{D5CDD505-2E9C-101B-9397-08002B2CF9AE}" pid="34" name="Subsubappendix-T">
    <vt:lpwstr>Subsubappendix</vt:lpwstr>
  </property>
  <property fmtid="{D5CDD505-2E9C-101B-9397-08002B2CF9AE}" pid="35" name="Subsubsection-T">
    <vt:lpwstr>Subsubsection</vt:lpwstr>
  </property>
  <property fmtid="{D5CDD505-2E9C-101B-9397-08002B2CF9AE}" pid="36" name="Title-T">
    <vt:lpwstr>&lt;&lt;Title&gt;&gt;</vt:lpwstr>
  </property>
  <property fmtid="{D5CDD505-2E9C-101B-9397-08002B2CF9AE}" pid="37" name="PresPrintTemplate">
    <vt:bool>true</vt:bool>
  </property>
  <property fmtid="{D5CDD505-2E9C-101B-9397-08002B2CF9AE}" pid="38" name="Address-T">
    <vt:lpwstr>&lt;&lt;Address&gt;&gt;</vt:lpwstr>
  </property>
  <property fmtid="{D5CDD505-2E9C-101B-9397-08002B2CF9AE}" pid="39" name="Average-T">
    <vt:lpwstr>Average</vt:lpwstr>
  </property>
  <property fmtid="{D5CDD505-2E9C-101B-9397-08002B2CF9AE}" pid="40" name="AmountDealType-T">
    <vt:lpwstr>&lt;&lt;Amt./deal-Type&gt;&gt;</vt:lpwstr>
  </property>
  <property fmtid="{D5CDD505-2E9C-101B-9397-08002B2CF9AE}" pid="41" name="ContactDetails-T">
    <vt:lpwstr>&lt;&lt;Contact Details&gt;&gt;</vt:lpwstr>
  </property>
  <property fmtid="{D5CDD505-2E9C-101B-9397-08002B2CF9AE}" pid="42" name="ContactName-T">
    <vt:lpwstr>&lt;&lt;Contact Name&gt;&gt;</vt:lpwstr>
  </property>
  <property fmtid="{D5CDD505-2E9C-101B-9397-08002B2CF9AE}" pid="43" name="Date-T">
    <vt:lpwstr>&lt;&lt;Date&gt;&gt;</vt:lpwstr>
  </property>
  <property fmtid="{D5CDD505-2E9C-101B-9397-08002B2CF9AE}" pid="44" name="EMailAddress-T">
    <vt:lpwstr>&lt;&lt;Email Address&gt;&gt;</vt:lpwstr>
  </property>
  <property fmtid="{D5CDD505-2E9C-101B-9397-08002B2CF9AE}" pid="45" name="LegalEntity-T">
    <vt:lpwstr>&lt;&lt;Legal Entity&gt;&gt;</vt:lpwstr>
  </property>
  <property fmtid="{D5CDD505-2E9C-101B-9397-08002B2CF9AE}" pid="46" name="Summary-T">
    <vt:lpwstr>&lt;&lt;Summary&gt;&gt;</vt:lpwstr>
  </property>
  <property fmtid="{D5CDD505-2E9C-101B-9397-08002B2CF9AE}" pid="47" name="TableHeading-T">
    <vt:lpwstr>&lt;&lt;Table Heading&gt;&gt;</vt:lpwstr>
  </property>
  <property fmtid="{D5CDD505-2E9C-101B-9397-08002B2CF9AE}" pid="48" name="TableSubheading-T">
    <vt:lpwstr>&lt;&lt;Table Subheading&gt;&gt;</vt:lpwstr>
  </property>
  <property fmtid="{D5CDD505-2E9C-101B-9397-08002B2CF9AE}" pid="49" name="TelephoneNumber-T">
    <vt:lpwstr>&lt;&lt;Telephone Number&gt;&gt;</vt:lpwstr>
  </property>
  <property fmtid="{D5CDD505-2E9C-101B-9397-08002B2CF9AE}" pid="50" name="Text-T">
    <vt:lpwstr>&lt;&lt;Text&gt;&gt;</vt:lpwstr>
  </property>
  <property fmtid="{D5CDD505-2E9C-101B-9397-08002B2CF9AE}" pid="51" name="WebAddress-T">
    <vt:lpwstr>&lt;&lt;Web Address</vt:lpwstr>
  </property>
  <property fmtid="{D5CDD505-2E9C-101B-9397-08002B2CF9AE}" pid="52" name="Year-T">
    <vt:lpwstr>&lt;&lt;Year&gt;&gt;</vt:lpwstr>
  </property>
  <property fmtid="{D5CDD505-2E9C-101B-9397-08002B2CF9AE}" pid="53" name="DateFormat-T">
    <vt:lpwstr>MM/DD/YY H:MM</vt:lpwstr>
  </property>
  <property fmtid="{D5CDD505-2E9C-101B-9397-08002B2CF9AE}" pid="54" name="FullPathName">
    <vt:lpwstr> </vt:lpwstr>
  </property>
  <property fmtid="{D5CDD505-2E9C-101B-9397-08002B2CF9AE}" pid="55" name="Keywords">
    <vt:lpwstr>C:\DPS\Pres\PPT\PresPrint.pot</vt:lpwstr>
  </property>
  <property fmtid="{D5CDD505-2E9C-101B-9397-08002B2CF9AE}" pid="56" name="CurrentAddinVersion">
    <vt:lpwstr>2.6.0</vt:lpwstr>
  </property>
  <property fmtid="{D5CDD505-2E9C-101B-9397-08002B2CF9AE}" pid="57" name="JapanCalendar">
    <vt:lpwstr>年</vt:lpwstr>
  </property>
  <property fmtid="{D5CDD505-2E9C-101B-9397-08002B2CF9AE}" pid="58" name="Language">
    <vt:lpwstr>2057</vt:lpwstr>
  </property>
  <property fmtid="{D5CDD505-2E9C-101B-9397-08002B2CF9AE}" pid="59" name="PresPrintEMEAStd">
    <vt:bool>true</vt:bool>
  </property>
  <property fmtid="{D5CDD505-2E9C-101B-9397-08002B2CF9AE}" pid="60" name="CreatedAddinVersion">
    <vt:lpwstr>2.6.0</vt:lpwstr>
  </property>
  <property fmtid="{D5CDD505-2E9C-101B-9397-08002B2CF9AE}" pid="61" name="CreatedTemplateVersion">
    <vt:lpwstr>2.6.0</vt:lpwstr>
  </property>
  <property fmtid="{D5CDD505-2E9C-101B-9397-08002B2CF9AE}" pid="62" name="CreateDate">
    <vt:lpwstr>01/11/2009 13:15:48</vt:lpwstr>
  </property>
  <property fmtid="{D5CDD505-2E9C-101B-9397-08002B2CF9AE}" pid="63" name="CoverLogoIncluded">
    <vt:lpwstr>True</vt:lpwstr>
  </property>
  <property fmtid="{D5CDD505-2E9C-101B-9397-08002B2CF9AE}" pid="64" name="CoverLogoID">
    <vt:lpwstr>plain_co</vt:lpwstr>
  </property>
  <property fmtid="{D5CDD505-2E9C-101B-9397-08002B2CF9AE}" pid="65" name="InsideLogoIncluded">
    <vt:lpwstr>True</vt:lpwstr>
  </property>
  <property fmtid="{D5CDD505-2E9C-101B-9397-08002B2CF9AE}" pid="66" name="InsideLogoID">
    <vt:lpwstr>plain_co</vt:lpwstr>
  </property>
  <property fmtid="{D5CDD505-2E9C-101B-9397-08002B2CF9AE}" pid="67" name="IncludeID.Ppt">
    <vt:lpwstr>False</vt:lpwstr>
  </property>
  <property fmtid="{D5CDD505-2E9C-101B-9397-08002B2CF9AE}" pid="68" name="IDStampItems">
    <vt:lpwstr>15</vt:lpwstr>
  </property>
  <property fmtid="{D5CDD505-2E9C-101B-9397-08002B2CF9AE}" pid="69" name="DraftStamp.Ppt">
    <vt:lpwstr>False</vt:lpwstr>
  </property>
  <property fmtid="{D5CDD505-2E9C-101B-9397-08002B2CF9AE}" pid="70" name="TOC.Ppt">
    <vt:lpwstr>False</vt:lpwstr>
  </property>
  <property fmtid="{D5CDD505-2E9C-101B-9397-08002B2CF9AE}" pid="71" name="TocSecLevel1">
    <vt:lpwstr>1</vt:lpwstr>
  </property>
  <property fmtid="{D5CDD505-2E9C-101B-9397-08002B2CF9AE}" pid="72" name="TocSecLevel2">
    <vt:lpwstr>2</vt:lpwstr>
  </property>
  <property fmtid="{D5CDD505-2E9C-101B-9397-08002B2CF9AE}" pid="73" name="TocSecLevel3">
    <vt:lpwstr>3</vt:lpwstr>
  </property>
  <property fmtid="{D5CDD505-2E9C-101B-9397-08002B2CF9AE}" pid="74" name="TocApdxLevel1">
    <vt:lpwstr>4</vt:lpwstr>
  </property>
  <property fmtid="{D5CDD505-2E9C-101B-9397-08002B2CF9AE}" pid="75" name="TocApdxLevel2">
    <vt:lpwstr>5</vt:lpwstr>
  </property>
  <property fmtid="{D5CDD505-2E9C-101B-9397-08002B2CF9AE}" pid="76" name="TocApdxLevel3">
    <vt:lpwstr>6</vt:lpwstr>
  </property>
  <property fmtid="{D5CDD505-2E9C-101B-9397-08002B2CF9AE}" pid="77" name="SPageNumbering1.Ppt">
    <vt:lpwstr>True</vt:lpwstr>
  </property>
  <property fmtid="{D5CDD505-2E9C-101B-9397-08002B2CF9AE}" pid="78" name="SPageNumbering2.Ppt">
    <vt:lpwstr>False</vt:lpwstr>
  </property>
  <property fmtid="{D5CDD505-2E9C-101B-9397-08002B2CF9AE}" pid="79" name="SPageNumbering3.Ppt">
    <vt:lpwstr>False</vt:lpwstr>
  </property>
  <property fmtid="{D5CDD505-2E9C-101B-9397-08002B2CF9AE}" pid="80" name="APageNumbering1.Ppt">
    <vt:lpwstr>True</vt:lpwstr>
  </property>
  <property fmtid="{D5CDD505-2E9C-101B-9397-08002B2CF9AE}" pid="81" name="APageNumbering2.Ppt">
    <vt:lpwstr>False</vt:lpwstr>
  </property>
  <property fmtid="{D5CDD505-2E9C-101B-9397-08002B2CF9AE}" pid="82" name="APageNumbering3.Ppt">
    <vt:lpwstr>False</vt:lpwstr>
  </property>
  <property fmtid="{D5CDD505-2E9C-101B-9397-08002B2CF9AE}" pid="83" name="ContactPage.Ppt">
    <vt:lpwstr>False</vt:lpwstr>
  </property>
  <property fmtid="{D5CDD505-2E9C-101B-9397-08002B2CF9AE}" pid="84" name="CompanyName">
    <vt:lpwstr>UBS Limited</vt:lpwstr>
  </property>
  <property fmtid="{D5CDD505-2E9C-101B-9397-08002B2CF9AE}" pid="85" name="CompanyNameExtension">
    <vt:lpwstr/>
  </property>
  <property fmtid="{D5CDD505-2E9C-101B-9397-08002B2CF9AE}" pid="86" name="CompanyDescriptor">
    <vt:lpwstr/>
  </property>
  <property fmtid="{D5CDD505-2E9C-101B-9397-08002B2CF9AE}" pid="87" name="CompanyType">
    <vt:lpwstr>2</vt:lpwstr>
  </property>
  <property fmtid="{D5CDD505-2E9C-101B-9397-08002B2CF9AE}" pid="88" name="BusinessUnit">
    <vt:lpwstr>4</vt:lpwstr>
  </property>
  <property fmtid="{D5CDD505-2E9C-101B-9397-08002B2CF9AE}" pid="89" name="Address.Office">
    <vt:lpwstr>1 Finsbury Avenue
London, EC2M 2PP</vt:lpwstr>
  </property>
  <property fmtid="{D5CDD505-2E9C-101B-9397-08002B2CF9AE}" pid="90" name="Fax1.Office">
    <vt:lpwstr/>
  </property>
  <property fmtid="{D5CDD505-2E9C-101B-9397-08002B2CF9AE}" pid="91" name="Phone1.Office">
    <vt:lpwstr>+44-20-7567 8000</vt:lpwstr>
  </property>
  <property fmtid="{D5CDD505-2E9C-101B-9397-08002B2CF9AE}" pid="92" name="CompanyID">
    <vt:lpwstr>C698</vt:lpwstr>
  </property>
  <property fmtid="{D5CDD505-2E9C-101B-9397-08002B2CF9AE}" pid="93" name="CompanyLCID">
    <vt:lpwstr>1033</vt:lpwstr>
  </property>
  <property fmtid="{D5CDD505-2E9C-101B-9397-08002B2CF9AE}" pid="94" name="AuthorInfoIncluded">
    <vt:lpwstr>False</vt:lpwstr>
  </property>
  <property fmtid="{D5CDD505-2E9C-101B-9397-08002B2CF9AE}" pid="95" name="AuthorInfoName">
    <vt:lpwstr/>
  </property>
  <property fmtid="{D5CDD505-2E9C-101B-9397-08002B2CF9AE}" pid="96" name="AuthorInfoDetails1">
    <vt:lpwstr/>
  </property>
  <property fmtid="{D5CDD505-2E9C-101B-9397-08002B2CF9AE}" pid="97" name="AuthorInfoDetails2">
    <vt:lpwstr/>
  </property>
  <property fmtid="{D5CDD505-2E9C-101B-9397-08002B2CF9AE}" pid="98" name="AuthorInfoEmail">
    <vt:lpwstr/>
  </property>
  <property fmtid="{D5CDD505-2E9C-101B-9397-08002B2CF9AE}" pid="99" name="AuthorInfoPhone">
    <vt:lpwstr/>
  </property>
  <property fmtid="{D5CDD505-2E9C-101B-9397-08002B2CF9AE}" pid="100" name="Endorsement">
    <vt:lpwstr>UBS Limited is a subsidiary of UBS AG</vt:lpwstr>
  </property>
  <property fmtid="{D5CDD505-2E9C-101B-9397-08002B2CF9AE}" pid="101" name="CoverPage.Ppt">
    <vt:lpwstr>False</vt:lpwstr>
  </property>
  <property fmtid="{D5CDD505-2E9C-101B-9397-08002B2CF9AE}" pid="102" name="CoverPhoto.Ppt">
    <vt:lpwstr/>
  </property>
  <property fmtid="{D5CDD505-2E9C-101B-9397-08002B2CF9AE}" pid="103" name="CoverPhotoLocation.Ppt">
    <vt:lpwstr>0</vt:lpwstr>
  </property>
  <property fmtid="{D5CDD505-2E9C-101B-9397-08002B2CF9AE}" pid="104" name="CoverPhotoPath">
    <vt:lpwstr/>
  </property>
  <property fmtid="{D5CDD505-2E9C-101B-9397-08002B2CF9AE}" pid="105" name="SecurityLevel">
    <vt:lpwstr>4</vt:lpwstr>
  </property>
  <property fmtid="{D5CDD505-2E9C-101B-9397-08002B2CF9AE}" pid="106" name="CoverPhotoIncluded">
    <vt:lpwstr>False</vt:lpwstr>
  </property>
  <property fmtid="{D5CDD505-2E9C-101B-9397-08002B2CF9AE}" pid="107" name="CoverPhotoIsCustom">
    <vt:lpwstr>False</vt:lpwstr>
  </property>
  <property fmtid="{D5CDD505-2E9C-101B-9397-08002B2CF9AE}" pid="108" name="SectionDivider.Ppt">
    <vt:lpwstr>False</vt:lpwstr>
  </property>
  <property fmtid="{D5CDD505-2E9C-101B-9397-08002B2CF9AE}" pid="109" name="IDStampDateFormatID">
    <vt:lpwstr>F1</vt:lpwstr>
  </property>
  <property fmtid="{D5CDD505-2E9C-101B-9397-08002B2CF9AE}" pid="110" name="IDStampDateFormat-T">
    <vt:lpwstr>MMMM d, yyyy h:mm AM/PM</vt:lpwstr>
  </property>
  <property fmtid="{D5CDD505-2E9C-101B-9397-08002B2CF9AE}" pid="111" name="CoverPageDateFormatID">
    <vt:lpwstr>F3</vt:lpwstr>
  </property>
  <property fmtid="{D5CDD505-2E9C-101B-9397-08002B2CF9AE}" pid="112" name="CoverPageDateFormatFilter">
    <vt:lpwstr>0</vt:lpwstr>
  </property>
  <property fmtid="{D5CDD505-2E9C-101B-9397-08002B2CF9AE}" pid="113" name="CoverPageDateFormat-T">
    <vt:lpwstr>MMMM yyyy</vt:lpwstr>
  </property>
  <property fmtid="{D5CDD505-2E9C-101B-9397-08002B2CF9AE}" pid="114" name="DisclaimerPage.Ppt">
    <vt:lpwstr>True</vt:lpwstr>
  </property>
  <property fmtid="{D5CDD505-2E9C-101B-9397-08002B2CF9AE}" pid="115" name="DisclaimerID.Ppt">
    <vt:lpwstr>D43</vt:lpwstr>
  </property>
  <property fmtid="{D5CDD505-2E9C-101B-9397-08002B2CF9AE}" pid="116" name="UseInternalUBSFont.Office">
    <vt:lpwstr>True</vt:lpwstr>
  </property>
  <property fmtid="{D5CDD505-2E9C-101B-9397-08002B2CF9AE}" pid="117" name="Subheading-T">
    <vt:lpwstr>&lt;&lt;Table Subheading&gt;&gt;</vt:lpwstr>
  </property>
  <property fmtid="{D5CDD505-2E9C-101B-9397-08002B2CF9AE}" pid="118" name="CalendarDateFormatID">
    <vt:lpwstr>F1</vt:lpwstr>
  </property>
  <property fmtid="{D5CDD505-2E9C-101B-9397-08002B2CF9AE}" pid="119" name="CalendarStartDay">
    <vt:lpwstr>1</vt:lpwstr>
  </property>
  <property fmtid="{D5CDD505-2E9C-101B-9397-08002B2CF9AE}" pid="120" name="DateFormat.Ppt">
    <vt:lpwstr>F1</vt:lpwstr>
  </property>
  <property fmtid="{D5CDD505-2E9C-101B-9397-08002B2CF9AE}" pid="121" name="UpgradedColorScheme">
    <vt:lpwstr>No</vt:lpwstr>
  </property>
  <property fmtid="{D5CDD505-2E9C-101B-9397-08002B2CF9AE}" pid="122" name="LB_TRACKING_NAME">
    <vt:lpwstr>\\Intranet.barcapint.com\dfs-emea\group\MOS\IBD Moscow\01_Clients\Metals and Mining\NN\Pitches\2013 April IRAO-RNG Update\IRAO_Update_v3.pptx - barminiv - 25/04/2013 03:55:40</vt:lpwstr>
  </property>
  <property fmtid="{D5CDD505-2E9C-101B-9397-08002B2CF9AE}" pid="123" name="_NewReviewCycle">
    <vt:lpwstr/>
  </property>
</Properties>
</file>